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"/>
  </p:notesMasterIdLst>
  <p:sldIdLst>
    <p:sldId id="2147329670" r:id="rId2"/>
    <p:sldId id="2147329671" r:id="rId3"/>
    <p:sldId id="2147329672" r:id="rId4"/>
    <p:sldId id="2147329675" r:id="rId5"/>
    <p:sldId id="2147329676" r:id="rId6"/>
  </p:sldIdLst>
  <p:sldSz cx="12192000" cy="6858000"/>
  <p:notesSz cx="6858000" cy="9144000"/>
  <p:defaultTextStyle>
    <a:defPPr>
      <a:defRPr lang="en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81" d="100"/>
          <a:sy n="81" d="100"/>
        </p:scale>
        <p:origin x="754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microsoft.com/office/2016/11/relationships/changesInfo" Target="changesInfos/changesInfo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iewertz, Sofia" userId="b7ae4f7e-d46b-4e32-a7c4-a73b4c2c0ce9" providerId="ADAL" clId="{CF9710D3-EA60-4B87-926A-C1B5BE856983}"/>
    <pc:docChg chg="modSld">
      <pc:chgData name="Siewertz, Sofia" userId="b7ae4f7e-d46b-4e32-a7c4-a73b4c2c0ce9" providerId="ADAL" clId="{CF9710D3-EA60-4B87-926A-C1B5BE856983}" dt="2023-01-25T10:05:55.268" v="111" actId="20577"/>
      <pc:docMkLst>
        <pc:docMk/>
      </pc:docMkLst>
      <pc:sldChg chg="modSp">
        <pc:chgData name="Siewertz, Sofia" userId="b7ae4f7e-d46b-4e32-a7c4-a73b4c2c0ce9" providerId="ADAL" clId="{CF9710D3-EA60-4B87-926A-C1B5BE856983}" dt="2023-01-25T10:05:55.268" v="111" actId="20577"/>
        <pc:sldMkLst>
          <pc:docMk/>
          <pc:sldMk cId="3146176717" sldId="2147329675"/>
        </pc:sldMkLst>
        <pc:spChg chg="mod">
          <ac:chgData name="Siewertz, Sofia" userId="b7ae4f7e-d46b-4e32-a7c4-a73b4c2c0ce9" providerId="ADAL" clId="{CF9710D3-EA60-4B87-926A-C1B5BE856983}" dt="2023-01-25T10:05:55.268" v="111" actId="20577"/>
          <ac:spMkLst>
            <pc:docMk/>
            <pc:sldMk cId="3146176717" sldId="2147329675"/>
            <ac:spMk id="3" creationId="{479BCC1F-7BA6-0324-D277-29D5B3F75C46}"/>
          </ac:spMkLst>
        </pc:spChg>
      </pc:sldChg>
      <pc:sldChg chg="modSp mod modAnim">
        <pc:chgData name="Siewertz, Sofia" userId="b7ae4f7e-d46b-4e32-a7c4-a73b4c2c0ce9" providerId="ADAL" clId="{CF9710D3-EA60-4B87-926A-C1B5BE856983}" dt="2023-01-25T10:05:23.866" v="103" actId="1076"/>
        <pc:sldMkLst>
          <pc:docMk/>
          <pc:sldMk cId="3362803463" sldId="2147329676"/>
        </pc:sldMkLst>
        <pc:spChg chg="mod">
          <ac:chgData name="Siewertz, Sofia" userId="b7ae4f7e-d46b-4e32-a7c4-a73b4c2c0ce9" providerId="ADAL" clId="{CF9710D3-EA60-4B87-926A-C1B5BE856983}" dt="2023-01-25T10:05:23.866" v="103" actId="1076"/>
          <ac:spMkLst>
            <pc:docMk/>
            <pc:sldMk cId="3362803463" sldId="2147329676"/>
            <ac:spMk id="5" creationId="{0271F4C4-1E6E-9DDC-40F5-DF36BEA2D874}"/>
          </ac:spMkLst>
        </pc:spChg>
        <pc:spChg chg="mod">
          <ac:chgData name="Siewertz, Sofia" userId="b7ae4f7e-d46b-4e32-a7c4-a73b4c2c0ce9" providerId="ADAL" clId="{CF9710D3-EA60-4B87-926A-C1B5BE856983}" dt="2023-01-25T10:05:11.633" v="100" actId="1076"/>
          <ac:spMkLst>
            <pc:docMk/>
            <pc:sldMk cId="3362803463" sldId="2147329676"/>
            <ac:spMk id="6" creationId="{2A87EEA7-BF90-0125-185E-8DC9A7264911}"/>
          </ac:spMkLst>
        </pc:spChg>
        <pc:spChg chg="mod">
          <ac:chgData name="Siewertz, Sofia" userId="b7ae4f7e-d46b-4e32-a7c4-a73b4c2c0ce9" providerId="ADAL" clId="{CF9710D3-EA60-4B87-926A-C1B5BE856983}" dt="2023-01-25T10:04:41.617" v="99" actId="20577"/>
          <ac:spMkLst>
            <pc:docMk/>
            <pc:sldMk cId="3362803463" sldId="2147329676"/>
            <ac:spMk id="7" creationId="{C779C688-EF0E-02BB-E198-E474957A539B}"/>
          </ac:spMkLst>
        </pc:spChg>
      </pc:sldChg>
    </pc:docChg>
  </pc:docChgLst>
  <pc:docChgLst>
    <pc:chgData name="Nielsen, Asne" userId="5964eae9-8095-475e-aebf-9664b02ccb66" providerId="ADAL" clId="{97978853-BABC-476F-B31D-789029CB7CBB}"/>
    <pc:docChg chg="modSld">
      <pc:chgData name="Nielsen, Asne" userId="5964eae9-8095-475e-aebf-9664b02ccb66" providerId="ADAL" clId="{97978853-BABC-476F-B31D-789029CB7CBB}" dt="2023-02-01T09:20:28.516" v="0" actId="20577"/>
      <pc:docMkLst>
        <pc:docMk/>
      </pc:docMkLst>
      <pc:sldChg chg="modSp">
        <pc:chgData name="Nielsen, Asne" userId="5964eae9-8095-475e-aebf-9664b02ccb66" providerId="ADAL" clId="{97978853-BABC-476F-B31D-789029CB7CBB}" dt="2023-02-01T09:20:28.516" v="0" actId="20577"/>
        <pc:sldMkLst>
          <pc:docMk/>
          <pc:sldMk cId="3362803463" sldId="2147329676"/>
        </pc:sldMkLst>
        <pc:spChg chg="mod">
          <ac:chgData name="Nielsen, Asne" userId="5964eae9-8095-475e-aebf-9664b02ccb66" providerId="ADAL" clId="{97978853-BABC-476F-B31D-789029CB7CBB}" dt="2023-02-01T09:20:28.516" v="0" actId="20577"/>
          <ac:spMkLst>
            <pc:docMk/>
            <pc:sldMk cId="3362803463" sldId="2147329676"/>
            <ac:spMk id="7" creationId="{C779C688-EF0E-02BB-E198-E474957A539B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60A32AD-2CC1-4AFF-AF4A-D4BF83CD874B}" type="datetimeFigureOut">
              <a:rPr lang="en-SE" smtClean="0"/>
              <a:t>2023-02-01</a:t>
            </a:fld>
            <a:endParaRPr lang="en-S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S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BF47A14-DDDC-48BC-A206-C519D8A770A4}" type="slidenum">
              <a:rPr lang="en-SE" smtClean="0"/>
              <a:t>‹#›</a:t>
            </a:fld>
            <a:endParaRPr lang="en-SE"/>
          </a:p>
        </p:txBody>
      </p:sp>
    </p:spTree>
    <p:extLst>
      <p:ext uri="{BB962C8B-B14F-4D97-AF65-F5344CB8AC3E}">
        <p14:creationId xmlns:p14="http://schemas.microsoft.com/office/powerpoint/2010/main" val="9647543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err="1"/>
              <a:t>Vad</a:t>
            </a:r>
            <a:r>
              <a:rPr lang="en-GB" dirty="0"/>
              <a:t> </a:t>
            </a:r>
            <a:r>
              <a:rPr lang="en-GB" dirty="0" err="1"/>
              <a:t>tycker</a:t>
            </a:r>
            <a:r>
              <a:rPr lang="en-GB" dirty="0"/>
              <a:t> </a:t>
            </a:r>
            <a:r>
              <a:rPr lang="en-GB" dirty="0" err="1"/>
              <a:t>ni</a:t>
            </a:r>
            <a:r>
              <a:rPr lang="en-GB" dirty="0"/>
              <a:t> om </a:t>
            </a:r>
            <a:r>
              <a:rPr lang="en-GB" dirty="0" err="1"/>
              <a:t>allt</a:t>
            </a:r>
            <a:r>
              <a:rPr lang="en-GB" dirty="0"/>
              <a:t> det </a:t>
            </a:r>
            <a:r>
              <a:rPr lang="en-GB" dirty="0" err="1"/>
              <a:t>här</a:t>
            </a:r>
            <a:r>
              <a:rPr lang="en-GB" dirty="0"/>
              <a:t>? </a:t>
            </a:r>
            <a:r>
              <a:rPr lang="en-GB" dirty="0" err="1"/>
              <a:t>Känns</a:t>
            </a:r>
            <a:r>
              <a:rPr lang="en-GB" dirty="0"/>
              <a:t> det bra? </a:t>
            </a:r>
            <a:r>
              <a:rPr lang="en-GB" dirty="0" err="1"/>
              <a:t>Är</a:t>
            </a:r>
            <a:r>
              <a:rPr lang="en-GB" dirty="0"/>
              <a:t> vi </a:t>
            </a:r>
            <a:r>
              <a:rPr lang="en-GB" dirty="0" err="1"/>
              <a:t>nöjda</a:t>
            </a:r>
            <a:r>
              <a:rPr lang="en-GB" dirty="0"/>
              <a:t>….?</a:t>
            </a:r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A4A6133-5E02-4CB3-8CD2-79D67A7D8CF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570144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jpe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gif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gi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gif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 page – long title, anima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67DDCDAD-2AA8-4240-955B-EF15CBD9E5A1}"/>
              </a:ext>
            </a:extLst>
          </p:cNvPr>
          <p:cNvSpPr/>
          <p:nvPr userDrawn="1"/>
        </p:nvSpPr>
        <p:spPr>
          <a:xfrm>
            <a:off x="0" y="0"/>
            <a:ext cx="8110835" cy="573405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bg1">
                  <a:lumMod val="9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50035" y="5985530"/>
            <a:ext cx="2022613" cy="380437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3F51AF07-C77D-A84B-9984-ED4C4144EABB}"/>
              </a:ext>
            </a:extLst>
          </p:cNvPr>
          <p:cNvSpPr txBox="1"/>
          <p:nvPr userDrawn="1"/>
        </p:nvSpPr>
        <p:spPr>
          <a:xfrm>
            <a:off x="10396728" y="-82296"/>
            <a:ext cx="18473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sv-SE" sz="2000" err="1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AAA7478-7B11-4147-8185-7FFF4ED985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01444" y="2345006"/>
            <a:ext cx="7310840" cy="1721336"/>
          </a:xfrm>
        </p:spPr>
        <p:txBody>
          <a:bodyPr anchor="b">
            <a:noAutofit/>
          </a:bodyPr>
          <a:lstStyle>
            <a:lvl1pPr algn="ctr">
              <a:defRPr sz="6000" spc="-15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Title of your presentation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BBFEC062-8F70-8D4D-AA98-EBB3E4549B6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0152" y="4169525"/>
            <a:ext cx="7310842" cy="1092646"/>
          </a:xfrm>
        </p:spPr>
        <p:txBody>
          <a:bodyPr>
            <a:noAutofit/>
          </a:bodyPr>
          <a:lstStyle>
            <a:lvl1pPr marL="0" indent="0" algn="ctr">
              <a:buNone/>
              <a:defRPr sz="2000" kern="2000" spc="1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Sub tit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3528FDD-B5FB-929D-AD43-32CF17F186D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44876" y="122701"/>
            <a:ext cx="2826425" cy="1589865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8A96FD5D-7BF3-B3AA-419B-B9C73464B73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10835" y="274417"/>
            <a:ext cx="4081165" cy="65976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596667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ub chapter divider (oran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59AD3909-A5AF-504B-99A1-437D9E322B3D}"/>
              </a:ext>
            </a:extLst>
          </p:cNvPr>
          <p:cNvSpPr/>
          <p:nvPr userDrawn="1"/>
        </p:nvSpPr>
        <p:spPr>
          <a:xfrm>
            <a:off x="0" y="115888"/>
            <a:ext cx="12191108" cy="619283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2013424" y="1827507"/>
            <a:ext cx="8162692" cy="1615421"/>
          </a:xfrm>
        </p:spPr>
        <p:txBody>
          <a:bodyPr anchor="b">
            <a:noAutofit/>
          </a:bodyPr>
          <a:lstStyle>
            <a:lvl1pPr algn="ctr"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Sub-chapter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260273" y="3549533"/>
            <a:ext cx="7668995" cy="1946227"/>
          </a:xfrm>
        </p:spPr>
        <p:txBody>
          <a:bodyPr>
            <a:noAutofit/>
          </a:bodyPr>
          <a:lstStyle>
            <a:lvl1pPr marL="0" indent="0" algn="ctr">
              <a:buNone/>
              <a:defRPr sz="2000" b="0" cap="none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Sub-headlin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23271" y="6438375"/>
            <a:ext cx="1143000" cy="214989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F2B5CF4-79E2-4BCE-8F81-53ED60D4893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3" name="Straight Connector 12"/>
          <p:cNvCxnSpPr/>
          <p:nvPr userDrawn="1"/>
        </p:nvCxnSpPr>
        <p:spPr>
          <a:xfrm flipH="1">
            <a:off x="11369993" y="6635115"/>
            <a:ext cx="27114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flipH="1">
            <a:off x="11369993" y="6442437"/>
            <a:ext cx="27114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8F99A3FF-A965-2847-B601-C92439A5120C}"/>
              </a:ext>
            </a:extLst>
          </p:cNvPr>
          <p:cNvSpPr txBox="1"/>
          <p:nvPr userDrawn="1"/>
        </p:nvSpPr>
        <p:spPr>
          <a:xfrm flipH="1">
            <a:off x="550863" y="6595778"/>
            <a:ext cx="1652387" cy="1077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400" cap="all" spc="80">
                <a:solidFill>
                  <a:schemeClr val="tx1"/>
                </a:solidFill>
              </a:rPr>
              <a:t>©</a:t>
            </a:r>
            <a:r>
              <a:rPr lang="en-US" sz="400" cap="all" spc="0" baseline="0">
                <a:solidFill>
                  <a:schemeClr val="tx1"/>
                </a:solidFill>
              </a:rPr>
              <a:t> </a:t>
            </a:r>
            <a:r>
              <a:rPr lang="en-US" sz="400" cap="all" spc="80">
                <a:solidFill>
                  <a:schemeClr val="tx1"/>
                </a:solidFill>
              </a:rPr>
              <a:t>Oriflame Cosmetics</a:t>
            </a:r>
            <a:r>
              <a:rPr lang="en-US" sz="400" cap="all" spc="80" baseline="0">
                <a:solidFill>
                  <a:schemeClr val="tx1"/>
                </a:solidFill>
              </a:rPr>
              <a:t> AG,2023</a:t>
            </a:r>
            <a:endParaRPr lang="en-US" sz="1600" cap="all" spc="8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9941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ne text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ADB2D89E-3AB4-B946-AB4D-8CA28CB098EB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err="1"/>
          </a:p>
        </p:txBody>
      </p:sp>
      <p:sp>
        <p:nvSpPr>
          <p:cNvPr id="8" name="Rectangle 7"/>
          <p:cNvSpPr/>
          <p:nvPr userDrawn="1"/>
        </p:nvSpPr>
        <p:spPr>
          <a:xfrm>
            <a:off x="7085" y="142035"/>
            <a:ext cx="12191108" cy="619283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 userDrawn="1">
            <p:ph idx="1" hasCustomPrompt="1"/>
          </p:nvPr>
        </p:nvSpPr>
        <p:spPr>
          <a:xfrm>
            <a:off x="550863" y="1682457"/>
            <a:ext cx="11090275" cy="409918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F2B5CF4-79E2-4BCE-8F81-53ED60D4893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3" name="Straight Connector 12"/>
          <p:cNvCxnSpPr/>
          <p:nvPr userDrawn="1"/>
        </p:nvCxnSpPr>
        <p:spPr>
          <a:xfrm flipH="1">
            <a:off x="11369993" y="6635115"/>
            <a:ext cx="27114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flipH="1">
            <a:off x="11369993" y="6442437"/>
            <a:ext cx="27114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4E1A06A9-4101-E146-BA2B-F2053C04CD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657225"/>
            <a:ext cx="11090275" cy="33709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14030ACF-9950-764B-8A64-7173AAF13357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50864" y="1076357"/>
            <a:ext cx="11090274" cy="360362"/>
          </a:xfr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65112" indent="0">
              <a:buNone/>
              <a:defRPr/>
            </a:lvl2pPr>
            <a:lvl3pPr marL="501650" indent="0">
              <a:buNone/>
              <a:defRPr/>
            </a:lvl3pPr>
            <a:lvl4pPr marL="698500" indent="0">
              <a:buNone/>
              <a:defRPr/>
            </a:lvl4pPr>
            <a:lvl5pPr marL="944563" indent="0">
              <a:buNone/>
              <a:defRPr/>
            </a:lvl5pPr>
          </a:lstStyle>
          <a:p>
            <a:pPr lvl="0"/>
            <a:r>
              <a:rPr lang="en-GB" noProof="0"/>
              <a:t>Subheading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689E284-7780-7144-A6E1-93926ABF68D1}"/>
              </a:ext>
            </a:extLst>
          </p:cNvPr>
          <p:cNvSpPr txBox="1"/>
          <p:nvPr userDrawn="1"/>
        </p:nvSpPr>
        <p:spPr>
          <a:xfrm flipH="1">
            <a:off x="550863" y="6595778"/>
            <a:ext cx="1652387" cy="1077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400" cap="all" spc="80">
                <a:solidFill>
                  <a:schemeClr val="bg1"/>
                </a:solidFill>
              </a:rPr>
              <a:t>©</a:t>
            </a:r>
            <a:r>
              <a:rPr lang="en-US" sz="400" cap="all" spc="0" baseline="0">
                <a:solidFill>
                  <a:schemeClr val="bg1"/>
                </a:solidFill>
              </a:rPr>
              <a:t> </a:t>
            </a:r>
            <a:r>
              <a:rPr lang="en-US" sz="400" cap="all" spc="80">
                <a:solidFill>
                  <a:schemeClr val="bg1"/>
                </a:solidFill>
              </a:rPr>
              <a:t>Oriflame Cosmetics</a:t>
            </a:r>
            <a:r>
              <a:rPr lang="en-US" sz="400" cap="all" spc="80" baseline="0">
                <a:solidFill>
                  <a:schemeClr val="bg1"/>
                </a:solidFill>
              </a:rPr>
              <a:t> AG,2023</a:t>
            </a:r>
            <a:endParaRPr lang="en-US" sz="1600" cap="all" spc="80">
              <a:solidFill>
                <a:schemeClr val="bg1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B1095CC-0AE3-3445-BEF1-AA77688EB25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87908" y="6299505"/>
            <a:ext cx="1422989" cy="491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642902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65AFBF14-9934-7E46-8150-54082F31023A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err="1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2885312-90F9-BF43-3BB6-5D0E9D146C21}"/>
              </a:ext>
            </a:extLst>
          </p:cNvPr>
          <p:cNvSpPr/>
          <p:nvPr userDrawn="1"/>
        </p:nvSpPr>
        <p:spPr>
          <a:xfrm>
            <a:off x="7085" y="142035"/>
            <a:ext cx="12191108" cy="619283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449B6137-43A5-E545-B61D-E430C2400B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69993" y="6456998"/>
            <a:ext cx="271144" cy="17526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F2B5CF4-79E2-4BCE-8F81-53ED60D4893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D3355629-FC04-754F-ADD4-6425A9A6CE4E}"/>
              </a:ext>
            </a:extLst>
          </p:cNvPr>
          <p:cNvCxnSpPr/>
          <p:nvPr userDrawn="1"/>
        </p:nvCxnSpPr>
        <p:spPr>
          <a:xfrm flipH="1">
            <a:off x="11369993" y="6635115"/>
            <a:ext cx="27114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151F4FE2-0596-5449-85DA-7C4156F6009D}"/>
              </a:ext>
            </a:extLst>
          </p:cNvPr>
          <p:cNvCxnSpPr/>
          <p:nvPr userDrawn="1"/>
        </p:nvCxnSpPr>
        <p:spPr>
          <a:xfrm flipH="1">
            <a:off x="11369993" y="6442437"/>
            <a:ext cx="27114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BD72A466-3611-AF49-B873-54672248F8BD}"/>
              </a:ext>
            </a:extLst>
          </p:cNvPr>
          <p:cNvSpPr txBox="1"/>
          <p:nvPr userDrawn="1"/>
        </p:nvSpPr>
        <p:spPr>
          <a:xfrm flipH="1">
            <a:off x="550863" y="6595778"/>
            <a:ext cx="1652387" cy="1077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400" cap="all" spc="80">
                <a:solidFill>
                  <a:schemeClr val="bg1"/>
                </a:solidFill>
              </a:rPr>
              <a:t>©</a:t>
            </a:r>
            <a:r>
              <a:rPr lang="en-US" sz="400" cap="all" spc="0" baseline="0">
                <a:solidFill>
                  <a:schemeClr val="bg1"/>
                </a:solidFill>
              </a:rPr>
              <a:t> </a:t>
            </a:r>
            <a:r>
              <a:rPr lang="en-US" sz="400" cap="all" spc="80">
                <a:solidFill>
                  <a:schemeClr val="bg1"/>
                </a:solidFill>
              </a:rPr>
              <a:t>Oriflame Cosmetics</a:t>
            </a:r>
            <a:r>
              <a:rPr lang="en-US" sz="400" cap="all" spc="80" baseline="0">
                <a:solidFill>
                  <a:schemeClr val="bg1"/>
                </a:solidFill>
              </a:rPr>
              <a:t> AG,2023</a:t>
            </a:r>
            <a:endParaRPr lang="en-US" sz="1600" cap="all" spc="80">
              <a:solidFill>
                <a:schemeClr val="bg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50863" y="1697598"/>
            <a:ext cx="5336131" cy="41052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3" hasCustomPrompt="1"/>
          </p:nvPr>
        </p:nvSpPr>
        <p:spPr>
          <a:xfrm>
            <a:off x="6305007" y="1697598"/>
            <a:ext cx="5336131" cy="41052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857EB03A-9EE9-C14D-AC19-435A852ED8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657225"/>
            <a:ext cx="11090275" cy="33709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A4F5A719-03F9-7E49-8D48-3C2491F4E95F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550864" y="1076357"/>
            <a:ext cx="11090274" cy="360362"/>
          </a:xfr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65112" indent="0">
              <a:buNone/>
              <a:defRPr/>
            </a:lvl2pPr>
            <a:lvl3pPr marL="501650" indent="0">
              <a:buNone/>
              <a:defRPr/>
            </a:lvl3pPr>
            <a:lvl4pPr marL="698500" indent="0">
              <a:buNone/>
              <a:defRPr/>
            </a:lvl4pPr>
            <a:lvl5pPr marL="944563" indent="0">
              <a:buNone/>
              <a:defRPr/>
            </a:lvl5pPr>
          </a:lstStyle>
          <a:p>
            <a:pPr lvl="0"/>
            <a:r>
              <a:rPr lang="en-GB" noProof="0"/>
              <a:t>Subheading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487134F2-21D1-864F-BE0F-A7298CF396D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87908" y="6299505"/>
            <a:ext cx="1422989" cy="491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433050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text columns, two siz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80D7547A-3E20-5C40-A94F-C1EC1C143338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err="1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CED6429-CFEF-B13B-1BFF-A99C30991314}"/>
              </a:ext>
            </a:extLst>
          </p:cNvPr>
          <p:cNvSpPr/>
          <p:nvPr userDrawn="1"/>
        </p:nvSpPr>
        <p:spPr>
          <a:xfrm>
            <a:off x="7085" y="142035"/>
            <a:ext cx="12191108" cy="619283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B1800BED-9550-404F-B7BF-773F7356D93B}"/>
              </a:ext>
            </a:extLst>
          </p:cNvPr>
          <p:cNvSpPr txBox="1">
            <a:spLocks/>
          </p:cNvSpPr>
          <p:nvPr userDrawn="1"/>
        </p:nvSpPr>
        <p:spPr>
          <a:xfrm>
            <a:off x="11369993" y="6456998"/>
            <a:ext cx="271144" cy="17526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sv-SE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F2B5CF4-79E2-4BCE-8F81-53ED60D4893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D4A31A81-DFCF-5D4F-A0AD-A7963649AE75}"/>
              </a:ext>
            </a:extLst>
          </p:cNvPr>
          <p:cNvCxnSpPr/>
          <p:nvPr userDrawn="1"/>
        </p:nvCxnSpPr>
        <p:spPr>
          <a:xfrm flipH="1">
            <a:off x="11369993" y="6635115"/>
            <a:ext cx="27114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080970D9-189B-BF4F-B1E3-CD7853C7F29C}"/>
              </a:ext>
            </a:extLst>
          </p:cNvPr>
          <p:cNvCxnSpPr/>
          <p:nvPr userDrawn="1"/>
        </p:nvCxnSpPr>
        <p:spPr>
          <a:xfrm flipH="1">
            <a:off x="11369993" y="6442437"/>
            <a:ext cx="27114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81299ABF-070D-8444-9B49-CCC64579D5F6}"/>
              </a:ext>
            </a:extLst>
          </p:cNvPr>
          <p:cNvSpPr txBox="1"/>
          <p:nvPr userDrawn="1"/>
        </p:nvSpPr>
        <p:spPr>
          <a:xfrm flipH="1">
            <a:off x="550863" y="6595778"/>
            <a:ext cx="1652387" cy="1077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400" cap="all" spc="80">
                <a:solidFill>
                  <a:schemeClr val="bg1"/>
                </a:solidFill>
              </a:rPr>
              <a:t>©</a:t>
            </a:r>
            <a:r>
              <a:rPr lang="en-US" sz="400" cap="all" spc="0" baseline="0">
                <a:solidFill>
                  <a:schemeClr val="bg1"/>
                </a:solidFill>
              </a:rPr>
              <a:t> </a:t>
            </a:r>
            <a:r>
              <a:rPr lang="en-US" sz="400" cap="all" spc="80">
                <a:solidFill>
                  <a:schemeClr val="bg1"/>
                </a:solidFill>
              </a:rPr>
              <a:t>Oriflame Cosmetics</a:t>
            </a:r>
            <a:r>
              <a:rPr lang="en-US" sz="400" cap="all" spc="80" baseline="0">
                <a:solidFill>
                  <a:schemeClr val="bg1"/>
                </a:solidFill>
              </a:rPr>
              <a:t> AG,2023</a:t>
            </a:r>
            <a:endParaRPr lang="en-US" sz="1600" cap="all" spc="80">
              <a:solidFill>
                <a:schemeClr val="bg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50863" y="1697598"/>
            <a:ext cx="5336131" cy="4105275"/>
          </a:xfrm>
        </p:spPr>
        <p:txBody>
          <a:bodyPr/>
          <a:lstStyle>
            <a:lvl1pPr marL="0" indent="0">
              <a:buNone/>
              <a:defRPr sz="3200">
                <a:solidFill>
                  <a:schemeClr val="tx1"/>
                </a:solidFill>
              </a:defRPr>
            </a:lvl1pPr>
            <a:lvl2pPr marL="265112" indent="0">
              <a:buNone/>
              <a:defRPr sz="3200"/>
            </a:lvl2pPr>
            <a:lvl3pPr marL="501650" indent="0">
              <a:buNone/>
              <a:defRPr sz="3200"/>
            </a:lvl3pPr>
            <a:lvl4pPr marL="698500" indent="0">
              <a:buNone/>
              <a:defRPr sz="3200"/>
            </a:lvl4pPr>
            <a:lvl5pPr marL="944563" indent="0">
              <a:buNone/>
              <a:defRPr sz="3200"/>
            </a:lvl5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3" hasCustomPrompt="1"/>
          </p:nvPr>
        </p:nvSpPr>
        <p:spPr>
          <a:xfrm>
            <a:off x="6305007" y="1697598"/>
            <a:ext cx="5336131" cy="41052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9C04ACCA-C2D5-2C49-9A7C-1CB85DDAF7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657225"/>
            <a:ext cx="11090275" cy="33709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FF2E96B1-D58D-CD4D-B4F6-96E2BF43970C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550864" y="1076357"/>
            <a:ext cx="11090274" cy="360362"/>
          </a:xfr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65112" indent="0">
              <a:buNone/>
              <a:defRPr/>
            </a:lvl2pPr>
            <a:lvl3pPr marL="501650" indent="0">
              <a:buNone/>
              <a:defRPr/>
            </a:lvl3pPr>
            <a:lvl4pPr marL="698500" indent="0">
              <a:buNone/>
              <a:defRPr/>
            </a:lvl4pPr>
            <a:lvl5pPr marL="944563" indent="0">
              <a:buNone/>
              <a:defRPr/>
            </a:lvl5pPr>
          </a:lstStyle>
          <a:p>
            <a:pPr lvl="0"/>
            <a:r>
              <a:rPr lang="en-GB" noProof="0"/>
              <a:t>Subheading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7FA8166A-D0A5-6648-9E44-8A4A839C958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87908" y="6299505"/>
            <a:ext cx="1422989" cy="491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94313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ne text column lef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6A4BF8AB-B6B8-254D-8ABE-F19FECC96359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err="1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0A16828-FEF2-284E-90BA-7C602370D59E}"/>
              </a:ext>
            </a:extLst>
          </p:cNvPr>
          <p:cNvSpPr/>
          <p:nvPr userDrawn="1"/>
        </p:nvSpPr>
        <p:spPr>
          <a:xfrm>
            <a:off x="892" y="115888"/>
            <a:ext cx="12191108" cy="619283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F8A306C1-6C6A-2E43-BB65-60BE23FCB505}"/>
              </a:ext>
            </a:extLst>
          </p:cNvPr>
          <p:cNvSpPr txBox="1">
            <a:spLocks/>
          </p:cNvSpPr>
          <p:nvPr userDrawn="1"/>
        </p:nvSpPr>
        <p:spPr>
          <a:xfrm>
            <a:off x="11369993" y="6456998"/>
            <a:ext cx="271144" cy="17526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sv-SE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F2B5CF4-79E2-4BCE-8F81-53ED60D4893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F287CD86-6FD7-5647-9CFB-A85C861F2E04}"/>
              </a:ext>
            </a:extLst>
          </p:cNvPr>
          <p:cNvCxnSpPr/>
          <p:nvPr userDrawn="1"/>
        </p:nvCxnSpPr>
        <p:spPr>
          <a:xfrm flipH="1">
            <a:off x="11369993" y="6635115"/>
            <a:ext cx="27114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345EF3AB-273B-F84A-BBAF-7AB8EE0296FF}"/>
              </a:ext>
            </a:extLst>
          </p:cNvPr>
          <p:cNvCxnSpPr/>
          <p:nvPr userDrawn="1"/>
        </p:nvCxnSpPr>
        <p:spPr>
          <a:xfrm flipH="1">
            <a:off x="11369993" y="6442437"/>
            <a:ext cx="27114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0732E783-29A2-0448-B56C-0A88033E8C15}"/>
              </a:ext>
            </a:extLst>
          </p:cNvPr>
          <p:cNvSpPr txBox="1"/>
          <p:nvPr userDrawn="1"/>
        </p:nvSpPr>
        <p:spPr>
          <a:xfrm flipH="1">
            <a:off x="550863" y="6595778"/>
            <a:ext cx="1652387" cy="1077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400" cap="all" spc="80">
                <a:solidFill>
                  <a:schemeClr val="bg1"/>
                </a:solidFill>
              </a:rPr>
              <a:t>©</a:t>
            </a:r>
            <a:r>
              <a:rPr lang="en-US" sz="400" cap="all" spc="0" baseline="0">
                <a:solidFill>
                  <a:schemeClr val="bg1"/>
                </a:solidFill>
              </a:rPr>
              <a:t> </a:t>
            </a:r>
            <a:r>
              <a:rPr lang="en-US" sz="400" cap="all" spc="80">
                <a:solidFill>
                  <a:schemeClr val="bg1"/>
                </a:solidFill>
              </a:rPr>
              <a:t>Oriflame Cosmetics</a:t>
            </a:r>
            <a:r>
              <a:rPr lang="en-US" sz="400" cap="all" spc="80" baseline="0">
                <a:solidFill>
                  <a:schemeClr val="bg1"/>
                </a:solidFill>
              </a:rPr>
              <a:t> AG,2023</a:t>
            </a:r>
            <a:endParaRPr lang="en-US" sz="1600" cap="all" spc="80">
              <a:solidFill>
                <a:schemeClr val="bg1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892" y="115888"/>
            <a:ext cx="12191108" cy="619283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50863" y="1697598"/>
            <a:ext cx="6012497" cy="41052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E99BBE70-40B6-CF48-92FF-006F61C388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657225"/>
            <a:ext cx="6012497" cy="33709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D33B9DA2-CDD2-E749-A957-5B852D72D65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50864" y="1076356"/>
            <a:ext cx="6012496" cy="205020"/>
          </a:xfr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65112" indent="0">
              <a:buNone/>
              <a:defRPr/>
            </a:lvl2pPr>
            <a:lvl3pPr marL="501650" indent="0">
              <a:buNone/>
              <a:defRPr/>
            </a:lvl3pPr>
            <a:lvl4pPr marL="698500" indent="0">
              <a:buNone/>
              <a:defRPr/>
            </a:lvl4pPr>
            <a:lvl5pPr marL="944563" indent="0">
              <a:buNone/>
              <a:defRPr/>
            </a:lvl5pPr>
          </a:lstStyle>
          <a:p>
            <a:pPr lvl="0"/>
            <a:r>
              <a:rPr lang="en-GB" noProof="0"/>
              <a:t>Subheading</a:t>
            </a: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4B2F2B91-C5A3-0944-A0B2-4F24E21FC9A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87908" y="6299505"/>
            <a:ext cx="1422989" cy="49179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533A7D3-EECA-7A14-58AA-8C654D1F463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14773" y="534389"/>
            <a:ext cx="4725814" cy="5359630"/>
          </a:xfrm>
          <a:custGeom>
            <a:avLst/>
            <a:gdLst>
              <a:gd name="connsiteX0" fmla="*/ 2362908 w 4725814"/>
              <a:gd name="connsiteY0" fmla="*/ 0 h 5359630"/>
              <a:gd name="connsiteX1" fmla="*/ 4725814 w 4725814"/>
              <a:gd name="connsiteY1" fmla="*/ 2387066 h 5359630"/>
              <a:gd name="connsiteX2" fmla="*/ 2362908 w 4725814"/>
              <a:gd name="connsiteY2" fmla="*/ 4774134 h 5359630"/>
              <a:gd name="connsiteX3" fmla="*/ 2181104 w 4725814"/>
              <a:gd name="connsiteY3" fmla="*/ 4767175 h 5359630"/>
              <a:gd name="connsiteX4" fmla="*/ 2016289 w 4725814"/>
              <a:gd name="connsiteY4" fmla="*/ 4748158 h 5359630"/>
              <a:gd name="connsiteX5" fmla="*/ 2016290 w 4725814"/>
              <a:gd name="connsiteY5" fmla="*/ 4749741 h 5359630"/>
              <a:gd name="connsiteX6" fmla="*/ 1757658 w 4725814"/>
              <a:gd name="connsiteY6" fmla="*/ 4721130 h 5359630"/>
              <a:gd name="connsiteX7" fmla="*/ 455882 w 4725814"/>
              <a:gd name="connsiteY7" fmla="*/ 5087859 h 5359630"/>
              <a:gd name="connsiteX8" fmla="*/ 313697 w 4725814"/>
              <a:gd name="connsiteY8" fmla="*/ 5237221 h 5359630"/>
              <a:gd name="connsiteX9" fmla="*/ 312109 w 4725814"/>
              <a:gd name="connsiteY9" fmla="*/ 5237221 h 5359630"/>
              <a:gd name="connsiteX10" fmla="*/ 263836 w 4725814"/>
              <a:gd name="connsiteY10" fmla="*/ 5297670 h 5359630"/>
              <a:gd name="connsiteX11" fmla="*/ 259101 w 4725814"/>
              <a:gd name="connsiteY11" fmla="*/ 5305594 h 5359630"/>
              <a:gd name="connsiteX12" fmla="*/ 146249 w 4725814"/>
              <a:gd name="connsiteY12" fmla="*/ 5359630 h 5359630"/>
              <a:gd name="connsiteX13" fmla="*/ 11493 w 4725814"/>
              <a:gd name="connsiteY13" fmla="*/ 5268939 h 5359630"/>
              <a:gd name="connsiteX14" fmla="*/ 4018 w 4725814"/>
              <a:gd name="connsiteY14" fmla="*/ 5231347 h 5359630"/>
              <a:gd name="connsiteX15" fmla="*/ 1 w 4725814"/>
              <a:gd name="connsiteY15" fmla="*/ 5231347 h 5359630"/>
              <a:gd name="connsiteX16" fmla="*/ 1 w 4725814"/>
              <a:gd name="connsiteY16" fmla="*/ 5211147 h 5359630"/>
              <a:gd name="connsiteX17" fmla="*/ 0 w 4725814"/>
              <a:gd name="connsiteY17" fmla="*/ 5211141 h 5359630"/>
              <a:gd name="connsiteX18" fmla="*/ 1 w 4725814"/>
              <a:gd name="connsiteY18" fmla="*/ 5211132 h 5359630"/>
              <a:gd name="connsiteX19" fmla="*/ 2 w 4725814"/>
              <a:gd name="connsiteY19" fmla="*/ 2387068 h 5359630"/>
              <a:gd name="connsiteX20" fmla="*/ 2 w 4725814"/>
              <a:gd name="connsiteY20" fmla="*/ 2329581 h 5359630"/>
              <a:gd name="connsiteX21" fmla="*/ 2876 w 4725814"/>
              <a:gd name="connsiteY21" fmla="*/ 2329581 h 5359630"/>
              <a:gd name="connsiteX22" fmla="*/ 12201 w 4725814"/>
              <a:gd name="connsiteY22" fmla="*/ 2143004 h 5359630"/>
              <a:gd name="connsiteX23" fmla="*/ 2362908 w 4725814"/>
              <a:gd name="connsiteY23" fmla="*/ 0 h 5359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4725814" h="5359630">
                <a:moveTo>
                  <a:pt x="2362908" y="0"/>
                </a:moveTo>
                <a:cubicBezTo>
                  <a:pt x="3667905" y="0"/>
                  <a:pt x="4725815" y="1068726"/>
                  <a:pt x="4725814" y="2387066"/>
                </a:cubicBezTo>
                <a:cubicBezTo>
                  <a:pt x="4725814" y="3705408"/>
                  <a:pt x="3667905" y="4774134"/>
                  <a:pt x="2362908" y="4774134"/>
                </a:cubicBezTo>
                <a:cubicBezTo>
                  <a:pt x="2301736" y="4774135"/>
                  <a:pt x="2241107" y="4771786"/>
                  <a:pt x="2181104" y="4767175"/>
                </a:cubicBezTo>
                <a:lnTo>
                  <a:pt x="2016289" y="4748158"/>
                </a:lnTo>
                <a:lnTo>
                  <a:pt x="2016290" y="4749741"/>
                </a:lnTo>
                <a:lnTo>
                  <a:pt x="1757658" y="4721130"/>
                </a:lnTo>
                <a:cubicBezTo>
                  <a:pt x="1224144" y="4695993"/>
                  <a:pt x="745783" y="4843257"/>
                  <a:pt x="455882" y="5087859"/>
                </a:cubicBezTo>
                <a:lnTo>
                  <a:pt x="313697" y="5237221"/>
                </a:lnTo>
                <a:lnTo>
                  <a:pt x="312109" y="5237221"/>
                </a:lnTo>
                <a:lnTo>
                  <a:pt x="263836" y="5297670"/>
                </a:lnTo>
                <a:lnTo>
                  <a:pt x="259101" y="5305594"/>
                </a:lnTo>
                <a:cubicBezTo>
                  <a:pt x="232277" y="5338594"/>
                  <a:pt x="191682" y="5359629"/>
                  <a:pt x="146249" y="5359630"/>
                </a:cubicBezTo>
                <a:cubicBezTo>
                  <a:pt x="85671" y="5359630"/>
                  <a:pt x="33694" y="5322235"/>
                  <a:pt x="11493" y="5268939"/>
                </a:cubicBezTo>
                <a:lnTo>
                  <a:pt x="4018" y="5231347"/>
                </a:lnTo>
                <a:lnTo>
                  <a:pt x="1" y="5231347"/>
                </a:lnTo>
                <a:lnTo>
                  <a:pt x="1" y="5211147"/>
                </a:lnTo>
                <a:lnTo>
                  <a:pt x="0" y="5211141"/>
                </a:lnTo>
                <a:lnTo>
                  <a:pt x="1" y="5211132"/>
                </a:lnTo>
                <a:lnTo>
                  <a:pt x="2" y="2387068"/>
                </a:lnTo>
                <a:lnTo>
                  <a:pt x="2" y="2329581"/>
                </a:lnTo>
                <a:lnTo>
                  <a:pt x="2876" y="2329581"/>
                </a:lnTo>
                <a:lnTo>
                  <a:pt x="12201" y="2143004"/>
                </a:lnTo>
                <a:cubicBezTo>
                  <a:pt x="133206" y="939311"/>
                  <a:pt x="1139473" y="1"/>
                  <a:pt x="2362908" y="0"/>
                </a:cubicBez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30232129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ext columns lef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B2AC0550-FC12-1B49-918B-5CB527BE5A04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err="1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4DDEA4E-DB73-BE43-8111-32A4B8234E2B}"/>
              </a:ext>
            </a:extLst>
          </p:cNvPr>
          <p:cNvSpPr/>
          <p:nvPr userDrawn="1"/>
        </p:nvSpPr>
        <p:spPr>
          <a:xfrm>
            <a:off x="892" y="115888"/>
            <a:ext cx="12191108" cy="619283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3E3FEA18-D6BA-2E45-A423-CF53DEDDB3AE}"/>
              </a:ext>
            </a:extLst>
          </p:cNvPr>
          <p:cNvSpPr txBox="1">
            <a:spLocks/>
          </p:cNvSpPr>
          <p:nvPr userDrawn="1"/>
        </p:nvSpPr>
        <p:spPr>
          <a:xfrm>
            <a:off x="11369993" y="6456998"/>
            <a:ext cx="271144" cy="17526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sv-SE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F2B5CF4-79E2-4BCE-8F81-53ED60D4893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1BD99B5-E534-3042-9463-7C10018B869A}"/>
              </a:ext>
            </a:extLst>
          </p:cNvPr>
          <p:cNvCxnSpPr/>
          <p:nvPr userDrawn="1"/>
        </p:nvCxnSpPr>
        <p:spPr>
          <a:xfrm flipH="1">
            <a:off x="11369993" y="6635115"/>
            <a:ext cx="27114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E963CE3-329A-0048-B019-F617562AFFA3}"/>
              </a:ext>
            </a:extLst>
          </p:cNvPr>
          <p:cNvCxnSpPr/>
          <p:nvPr userDrawn="1"/>
        </p:nvCxnSpPr>
        <p:spPr>
          <a:xfrm flipH="1">
            <a:off x="11369993" y="6442437"/>
            <a:ext cx="27114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1503375B-5E62-A744-A2AB-86D66DA6593E}"/>
              </a:ext>
            </a:extLst>
          </p:cNvPr>
          <p:cNvSpPr txBox="1"/>
          <p:nvPr userDrawn="1"/>
        </p:nvSpPr>
        <p:spPr>
          <a:xfrm flipH="1">
            <a:off x="550863" y="6595778"/>
            <a:ext cx="1652387" cy="1077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400" cap="all" spc="80">
                <a:solidFill>
                  <a:schemeClr val="bg1"/>
                </a:solidFill>
              </a:rPr>
              <a:t>©</a:t>
            </a:r>
            <a:r>
              <a:rPr lang="en-US" sz="400" cap="all" spc="0" baseline="0">
                <a:solidFill>
                  <a:schemeClr val="bg1"/>
                </a:solidFill>
              </a:rPr>
              <a:t> </a:t>
            </a:r>
            <a:r>
              <a:rPr lang="en-US" sz="400" cap="all" spc="80">
                <a:solidFill>
                  <a:schemeClr val="bg1"/>
                </a:solidFill>
              </a:rPr>
              <a:t>Oriflame Cosmetics</a:t>
            </a:r>
            <a:r>
              <a:rPr lang="en-US" sz="400" cap="all" spc="80" baseline="0">
                <a:solidFill>
                  <a:schemeClr val="bg1"/>
                </a:solidFill>
              </a:rPr>
              <a:t> AG,2023</a:t>
            </a:r>
            <a:endParaRPr lang="en-US" sz="1600" cap="all" spc="80">
              <a:solidFill>
                <a:schemeClr val="bg1"/>
              </a:solidFill>
            </a:endParaRP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A7650DEF-C72C-5247-A7CB-BC69F77E5F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5" y="657224"/>
            <a:ext cx="5929728" cy="35243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53201E1-3BD4-4D45-9279-22B305FCA913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50865" y="1076357"/>
            <a:ext cx="5929728" cy="294852"/>
          </a:xfr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65112" indent="0">
              <a:buNone/>
              <a:defRPr/>
            </a:lvl2pPr>
            <a:lvl3pPr marL="501650" indent="0">
              <a:buNone/>
              <a:defRPr/>
            </a:lvl3pPr>
            <a:lvl4pPr marL="698500" indent="0">
              <a:buNone/>
              <a:defRPr/>
            </a:lvl4pPr>
            <a:lvl5pPr marL="944563" indent="0">
              <a:buNone/>
              <a:defRPr/>
            </a:lvl5pPr>
          </a:lstStyle>
          <a:p>
            <a:pPr lvl="0"/>
            <a:r>
              <a:rPr lang="en-GB" noProof="0"/>
              <a:t>Subheading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9AC762C-C225-9941-8049-5C36E6BC7D07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551384" y="1697599"/>
            <a:ext cx="2745425" cy="41052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7E5102BE-ADC8-E647-A5D1-0B9BE5E63648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3735167" y="1697599"/>
            <a:ext cx="2745425" cy="41052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66F7C004-21E1-604B-8C52-201A3D52659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87908" y="6299505"/>
            <a:ext cx="1422989" cy="491798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F5143FF4-5C8B-3A5E-ABAC-26DF2A4D82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18951" y="534548"/>
            <a:ext cx="4722185" cy="5355515"/>
          </a:xfrm>
          <a:custGeom>
            <a:avLst/>
            <a:gdLst>
              <a:gd name="connsiteX0" fmla="*/ 2361092 w 4722185"/>
              <a:gd name="connsiteY0" fmla="*/ 0 h 5355515"/>
              <a:gd name="connsiteX1" fmla="*/ 4709994 w 4722185"/>
              <a:gd name="connsiteY1" fmla="*/ 2141359 h 5355515"/>
              <a:gd name="connsiteX2" fmla="*/ 4719312 w 4722185"/>
              <a:gd name="connsiteY2" fmla="*/ 2327793 h 5355515"/>
              <a:gd name="connsiteX3" fmla="*/ 4722184 w 4722185"/>
              <a:gd name="connsiteY3" fmla="*/ 2327793 h 5355515"/>
              <a:gd name="connsiteX4" fmla="*/ 4722183 w 4722185"/>
              <a:gd name="connsiteY4" fmla="*/ 2385235 h 5355515"/>
              <a:gd name="connsiteX5" fmla="*/ 4722184 w 4722185"/>
              <a:gd name="connsiteY5" fmla="*/ 5207131 h 5355515"/>
              <a:gd name="connsiteX6" fmla="*/ 4722185 w 4722185"/>
              <a:gd name="connsiteY6" fmla="*/ 5207140 h 5355515"/>
              <a:gd name="connsiteX7" fmla="*/ 4722185 w 4722185"/>
              <a:gd name="connsiteY7" fmla="*/ 5207146 h 5355515"/>
              <a:gd name="connsiteX8" fmla="*/ 4722185 w 4722185"/>
              <a:gd name="connsiteY8" fmla="*/ 5227331 h 5355515"/>
              <a:gd name="connsiteX9" fmla="*/ 4718171 w 4722185"/>
              <a:gd name="connsiteY9" fmla="*/ 5227331 h 5355515"/>
              <a:gd name="connsiteX10" fmla="*/ 4710701 w 4722185"/>
              <a:gd name="connsiteY10" fmla="*/ 5264893 h 5355515"/>
              <a:gd name="connsiteX11" fmla="*/ 4576049 w 4722185"/>
              <a:gd name="connsiteY11" fmla="*/ 5355515 h 5355515"/>
              <a:gd name="connsiteX12" fmla="*/ 4463283 w 4722185"/>
              <a:gd name="connsiteY12" fmla="*/ 5301520 h 5355515"/>
              <a:gd name="connsiteX13" fmla="*/ 4458552 w 4722185"/>
              <a:gd name="connsiteY13" fmla="*/ 5293602 h 5355515"/>
              <a:gd name="connsiteX14" fmla="*/ 4410316 w 4722185"/>
              <a:gd name="connsiteY14" fmla="*/ 5233200 h 5355515"/>
              <a:gd name="connsiteX15" fmla="*/ 4408730 w 4722185"/>
              <a:gd name="connsiteY15" fmla="*/ 5233200 h 5355515"/>
              <a:gd name="connsiteX16" fmla="*/ 4266654 w 4722185"/>
              <a:gd name="connsiteY16" fmla="*/ 5083952 h 5355515"/>
              <a:gd name="connsiteX17" fmla="*/ 2965877 w 4722185"/>
              <a:gd name="connsiteY17" fmla="*/ 4717505 h 5355515"/>
              <a:gd name="connsiteX18" fmla="*/ 2707444 w 4722185"/>
              <a:gd name="connsiteY18" fmla="*/ 4746095 h 5355515"/>
              <a:gd name="connsiteX19" fmla="*/ 2707444 w 4722185"/>
              <a:gd name="connsiteY19" fmla="*/ 4744512 h 5355515"/>
              <a:gd name="connsiteX20" fmla="*/ 2542757 w 4722185"/>
              <a:gd name="connsiteY20" fmla="*/ 4763515 h 5355515"/>
              <a:gd name="connsiteX21" fmla="*/ 2361092 w 4722185"/>
              <a:gd name="connsiteY21" fmla="*/ 4770468 h 5355515"/>
              <a:gd name="connsiteX22" fmla="*/ 0 w 4722185"/>
              <a:gd name="connsiteY22" fmla="*/ 2385234 h 5355515"/>
              <a:gd name="connsiteX23" fmla="*/ 2361092 w 4722185"/>
              <a:gd name="connsiteY23" fmla="*/ 0 h 5355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4722185" h="5355515">
                <a:moveTo>
                  <a:pt x="2361092" y="0"/>
                </a:moveTo>
                <a:cubicBezTo>
                  <a:pt x="3583588" y="1"/>
                  <a:pt x="4589082" y="938589"/>
                  <a:pt x="4709994" y="2141359"/>
                </a:cubicBezTo>
                <a:lnTo>
                  <a:pt x="4719312" y="2327793"/>
                </a:lnTo>
                <a:lnTo>
                  <a:pt x="4722184" y="2327793"/>
                </a:lnTo>
                <a:lnTo>
                  <a:pt x="4722183" y="2385235"/>
                </a:lnTo>
                <a:lnTo>
                  <a:pt x="4722184" y="5207131"/>
                </a:lnTo>
                <a:lnTo>
                  <a:pt x="4722185" y="5207140"/>
                </a:lnTo>
                <a:lnTo>
                  <a:pt x="4722185" y="5207146"/>
                </a:lnTo>
                <a:lnTo>
                  <a:pt x="4722185" y="5227331"/>
                </a:lnTo>
                <a:lnTo>
                  <a:pt x="4718171" y="5227331"/>
                </a:lnTo>
                <a:lnTo>
                  <a:pt x="4710701" y="5264893"/>
                </a:lnTo>
                <a:cubicBezTo>
                  <a:pt x="4688517" y="5318149"/>
                  <a:pt x="4636580" y="5355515"/>
                  <a:pt x="4576049" y="5355515"/>
                </a:cubicBezTo>
                <a:cubicBezTo>
                  <a:pt x="4530651" y="5355514"/>
                  <a:pt x="4490087" y="5334495"/>
                  <a:pt x="4463283" y="5301520"/>
                </a:cubicBezTo>
                <a:lnTo>
                  <a:pt x="4458552" y="5293602"/>
                </a:lnTo>
                <a:lnTo>
                  <a:pt x="4410316" y="5233200"/>
                </a:lnTo>
                <a:lnTo>
                  <a:pt x="4408730" y="5233200"/>
                </a:lnTo>
                <a:lnTo>
                  <a:pt x="4266654" y="5083952"/>
                </a:lnTo>
                <a:cubicBezTo>
                  <a:pt x="3976975" y="4839538"/>
                  <a:pt x="3498981" y="4692388"/>
                  <a:pt x="2965877" y="4717505"/>
                </a:cubicBezTo>
                <a:lnTo>
                  <a:pt x="2707444" y="4746095"/>
                </a:lnTo>
                <a:lnTo>
                  <a:pt x="2707444" y="4744512"/>
                </a:lnTo>
                <a:lnTo>
                  <a:pt x="2542757" y="4763515"/>
                </a:lnTo>
                <a:cubicBezTo>
                  <a:pt x="2482799" y="4768122"/>
                  <a:pt x="2422217" y="4770469"/>
                  <a:pt x="2361092" y="4770468"/>
                </a:cubicBezTo>
                <a:cubicBezTo>
                  <a:pt x="1057097" y="4770469"/>
                  <a:pt x="1" y="3702563"/>
                  <a:pt x="0" y="2385234"/>
                </a:cubicBezTo>
                <a:cubicBezTo>
                  <a:pt x="0" y="1067906"/>
                  <a:pt x="1057097" y="1"/>
                  <a:pt x="2361092" y="0"/>
                </a:cubicBez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94612928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ne text column righ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BB0F9C8F-A4C0-9746-922A-70B8435AB7B2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err="1"/>
          </a:p>
        </p:txBody>
      </p:sp>
      <p:sp>
        <p:nvSpPr>
          <p:cNvPr id="10" name="Rectangle 9"/>
          <p:cNvSpPr/>
          <p:nvPr userDrawn="1"/>
        </p:nvSpPr>
        <p:spPr>
          <a:xfrm>
            <a:off x="892" y="115888"/>
            <a:ext cx="12191108" cy="619283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7C63BB87-C005-AE4A-8233-3F11E5B848E0}"/>
              </a:ext>
            </a:extLst>
          </p:cNvPr>
          <p:cNvSpPr txBox="1">
            <a:spLocks/>
          </p:cNvSpPr>
          <p:nvPr userDrawn="1"/>
        </p:nvSpPr>
        <p:spPr>
          <a:xfrm>
            <a:off x="11369993" y="6456998"/>
            <a:ext cx="271144" cy="17526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sv-SE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F2B5CF4-79E2-4BCE-8F81-53ED60D4893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015CCF90-F895-EE4F-98CB-C3B39700144D}"/>
              </a:ext>
            </a:extLst>
          </p:cNvPr>
          <p:cNvCxnSpPr/>
          <p:nvPr userDrawn="1"/>
        </p:nvCxnSpPr>
        <p:spPr>
          <a:xfrm flipH="1">
            <a:off x="11369993" y="6635115"/>
            <a:ext cx="27114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A49D1FD3-0D33-5E4F-B206-AE099C9CE11D}"/>
              </a:ext>
            </a:extLst>
          </p:cNvPr>
          <p:cNvCxnSpPr/>
          <p:nvPr userDrawn="1"/>
        </p:nvCxnSpPr>
        <p:spPr>
          <a:xfrm flipH="1">
            <a:off x="11369993" y="6442437"/>
            <a:ext cx="27114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4D4BA4F4-EAEA-B144-B97D-BB04958782EB}"/>
              </a:ext>
            </a:extLst>
          </p:cNvPr>
          <p:cNvSpPr txBox="1"/>
          <p:nvPr userDrawn="1"/>
        </p:nvSpPr>
        <p:spPr>
          <a:xfrm flipH="1">
            <a:off x="550863" y="6595778"/>
            <a:ext cx="1652387" cy="1077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400" cap="all" spc="80">
                <a:solidFill>
                  <a:schemeClr val="bg1"/>
                </a:solidFill>
              </a:rPr>
              <a:t>©</a:t>
            </a:r>
            <a:r>
              <a:rPr lang="en-US" sz="400" cap="all" spc="0" baseline="0">
                <a:solidFill>
                  <a:schemeClr val="bg1"/>
                </a:solidFill>
              </a:rPr>
              <a:t> </a:t>
            </a:r>
            <a:r>
              <a:rPr lang="en-US" sz="400" cap="all" spc="80">
                <a:solidFill>
                  <a:schemeClr val="bg1"/>
                </a:solidFill>
              </a:rPr>
              <a:t>Oriflame Cosmetics</a:t>
            </a:r>
            <a:r>
              <a:rPr lang="en-US" sz="400" cap="all" spc="80" baseline="0">
                <a:solidFill>
                  <a:schemeClr val="bg1"/>
                </a:solidFill>
              </a:rPr>
              <a:t> AG,2023</a:t>
            </a:r>
            <a:endParaRPr lang="en-US" sz="1600" cap="all" spc="80">
              <a:solidFill>
                <a:schemeClr val="bg1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D0D1B0B-FF34-DA49-827E-4128ABC71FE2}"/>
              </a:ext>
            </a:extLst>
          </p:cNvPr>
          <p:cNvSpPr/>
          <p:nvPr userDrawn="1"/>
        </p:nvSpPr>
        <p:spPr>
          <a:xfrm>
            <a:off x="892" y="115888"/>
            <a:ext cx="12191108" cy="619283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F43E315-FF6F-9349-AE8D-44D1E86482E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664530" y="1697598"/>
            <a:ext cx="5959686" cy="41052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5AAC4EC4-D3E6-7845-9335-71BAD5C2B2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64530" y="657225"/>
            <a:ext cx="5959686" cy="33709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48B5E09-C61B-0344-875D-5A16AB4811EF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664530" y="1076357"/>
            <a:ext cx="5959686" cy="294851"/>
          </a:xfr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65112" indent="0">
              <a:buNone/>
              <a:defRPr/>
            </a:lvl2pPr>
            <a:lvl3pPr marL="501650" indent="0">
              <a:buNone/>
              <a:defRPr/>
            </a:lvl3pPr>
            <a:lvl4pPr marL="698500" indent="0">
              <a:buNone/>
              <a:defRPr/>
            </a:lvl4pPr>
            <a:lvl5pPr marL="944563" indent="0">
              <a:buNone/>
              <a:defRPr/>
            </a:lvl5pPr>
          </a:lstStyle>
          <a:p>
            <a:pPr lvl="0"/>
            <a:r>
              <a:rPr lang="en-GB" noProof="0"/>
              <a:t>Subheading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17C5102C-9135-1246-8E10-513CE67CDE0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87908" y="6299505"/>
            <a:ext cx="1422989" cy="491798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DFCFF33A-9B3E-D894-67C7-73A38CADFE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4561" y="534548"/>
            <a:ext cx="4722185" cy="5355515"/>
          </a:xfrm>
          <a:custGeom>
            <a:avLst/>
            <a:gdLst>
              <a:gd name="connsiteX0" fmla="*/ 2361092 w 4722185"/>
              <a:gd name="connsiteY0" fmla="*/ 0 h 5355515"/>
              <a:gd name="connsiteX1" fmla="*/ 4709994 w 4722185"/>
              <a:gd name="connsiteY1" fmla="*/ 2141359 h 5355515"/>
              <a:gd name="connsiteX2" fmla="*/ 4719312 w 4722185"/>
              <a:gd name="connsiteY2" fmla="*/ 2327793 h 5355515"/>
              <a:gd name="connsiteX3" fmla="*/ 4722184 w 4722185"/>
              <a:gd name="connsiteY3" fmla="*/ 2327793 h 5355515"/>
              <a:gd name="connsiteX4" fmla="*/ 4722183 w 4722185"/>
              <a:gd name="connsiteY4" fmla="*/ 2385235 h 5355515"/>
              <a:gd name="connsiteX5" fmla="*/ 4722184 w 4722185"/>
              <a:gd name="connsiteY5" fmla="*/ 5207131 h 5355515"/>
              <a:gd name="connsiteX6" fmla="*/ 4722185 w 4722185"/>
              <a:gd name="connsiteY6" fmla="*/ 5207140 h 5355515"/>
              <a:gd name="connsiteX7" fmla="*/ 4722185 w 4722185"/>
              <a:gd name="connsiteY7" fmla="*/ 5207146 h 5355515"/>
              <a:gd name="connsiteX8" fmla="*/ 4722185 w 4722185"/>
              <a:gd name="connsiteY8" fmla="*/ 5227331 h 5355515"/>
              <a:gd name="connsiteX9" fmla="*/ 4718171 w 4722185"/>
              <a:gd name="connsiteY9" fmla="*/ 5227331 h 5355515"/>
              <a:gd name="connsiteX10" fmla="*/ 4710701 w 4722185"/>
              <a:gd name="connsiteY10" fmla="*/ 5264893 h 5355515"/>
              <a:gd name="connsiteX11" fmla="*/ 4576049 w 4722185"/>
              <a:gd name="connsiteY11" fmla="*/ 5355515 h 5355515"/>
              <a:gd name="connsiteX12" fmla="*/ 4463283 w 4722185"/>
              <a:gd name="connsiteY12" fmla="*/ 5301520 h 5355515"/>
              <a:gd name="connsiteX13" fmla="*/ 4458552 w 4722185"/>
              <a:gd name="connsiteY13" fmla="*/ 5293602 h 5355515"/>
              <a:gd name="connsiteX14" fmla="*/ 4410316 w 4722185"/>
              <a:gd name="connsiteY14" fmla="*/ 5233200 h 5355515"/>
              <a:gd name="connsiteX15" fmla="*/ 4408730 w 4722185"/>
              <a:gd name="connsiteY15" fmla="*/ 5233200 h 5355515"/>
              <a:gd name="connsiteX16" fmla="*/ 4266654 w 4722185"/>
              <a:gd name="connsiteY16" fmla="*/ 5083952 h 5355515"/>
              <a:gd name="connsiteX17" fmla="*/ 2965877 w 4722185"/>
              <a:gd name="connsiteY17" fmla="*/ 4717505 h 5355515"/>
              <a:gd name="connsiteX18" fmla="*/ 2707444 w 4722185"/>
              <a:gd name="connsiteY18" fmla="*/ 4746095 h 5355515"/>
              <a:gd name="connsiteX19" fmla="*/ 2707444 w 4722185"/>
              <a:gd name="connsiteY19" fmla="*/ 4744512 h 5355515"/>
              <a:gd name="connsiteX20" fmla="*/ 2542757 w 4722185"/>
              <a:gd name="connsiteY20" fmla="*/ 4763515 h 5355515"/>
              <a:gd name="connsiteX21" fmla="*/ 2361092 w 4722185"/>
              <a:gd name="connsiteY21" fmla="*/ 4770468 h 5355515"/>
              <a:gd name="connsiteX22" fmla="*/ 0 w 4722185"/>
              <a:gd name="connsiteY22" fmla="*/ 2385234 h 5355515"/>
              <a:gd name="connsiteX23" fmla="*/ 2361092 w 4722185"/>
              <a:gd name="connsiteY23" fmla="*/ 0 h 5355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4722185" h="5355515">
                <a:moveTo>
                  <a:pt x="2361092" y="0"/>
                </a:moveTo>
                <a:cubicBezTo>
                  <a:pt x="3583588" y="1"/>
                  <a:pt x="4589082" y="938589"/>
                  <a:pt x="4709994" y="2141359"/>
                </a:cubicBezTo>
                <a:lnTo>
                  <a:pt x="4719312" y="2327793"/>
                </a:lnTo>
                <a:lnTo>
                  <a:pt x="4722184" y="2327793"/>
                </a:lnTo>
                <a:lnTo>
                  <a:pt x="4722183" y="2385235"/>
                </a:lnTo>
                <a:lnTo>
                  <a:pt x="4722184" y="5207131"/>
                </a:lnTo>
                <a:lnTo>
                  <a:pt x="4722185" y="5207140"/>
                </a:lnTo>
                <a:lnTo>
                  <a:pt x="4722185" y="5207146"/>
                </a:lnTo>
                <a:lnTo>
                  <a:pt x="4722185" y="5227331"/>
                </a:lnTo>
                <a:lnTo>
                  <a:pt x="4718171" y="5227331"/>
                </a:lnTo>
                <a:lnTo>
                  <a:pt x="4710701" y="5264893"/>
                </a:lnTo>
                <a:cubicBezTo>
                  <a:pt x="4688517" y="5318149"/>
                  <a:pt x="4636580" y="5355515"/>
                  <a:pt x="4576049" y="5355515"/>
                </a:cubicBezTo>
                <a:cubicBezTo>
                  <a:pt x="4530651" y="5355514"/>
                  <a:pt x="4490087" y="5334495"/>
                  <a:pt x="4463283" y="5301520"/>
                </a:cubicBezTo>
                <a:lnTo>
                  <a:pt x="4458552" y="5293602"/>
                </a:lnTo>
                <a:lnTo>
                  <a:pt x="4410316" y="5233200"/>
                </a:lnTo>
                <a:lnTo>
                  <a:pt x="4408730" y="5233200"/>
                </a:lnTo>
                <a:lnTo>
                  <a:pt x="4266654" y="5083952"/>
                </a:lnTo>
                <a:cubicBezTo>
                  <a:pt x="3976975" y="4839538"/>
                  <a:pt x="3498981" y="4692388"/>
                  <a:pt x="2965877" y="4717505"/>
                </a:cubicBezTo>
                <a:lnTo>
                  <a:pt x="2707444" y="4746095"/>
                </a:lnTo>
                <a:lnTo>
                  <a:pt x="2707444" y="4744512"/>
                </a:lnTo>
                <a:lnTo>
                  <a:pt x="2542757" y="4763515"/>
                </a:lnTo>
                <a:cubicBezTo>
                  <a:pt x="2482799" y="4768122"/>
                  <a:pt x="2422217" y="4770469"/>
                  <a:pt x="2361092" y="4770468"/>
                </a:cubicBezTo>
                <a:cubicBezTo>
                  <a:pt x="1057097" y="4770469"/>
                  <a:pt x="1" y="3702563"/>
                  <a:pt x="0" y="2385234"/>
                </a:cubicBezTo>
                <a:cubicBezTo>
                  <a:pt x="0" y="1067906"/>
                  <a:pt x="1057097" y="1"/>
                  <a:pt x="2361092" y="0"/>
                </a:cubicBez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14697733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ext columns righ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A5A618AC-93E8-FD48-A8FF-A1ECD5910D6A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err="1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5D0FFE1E-E5C9-E445-9B96-E13DA45E9800}"/>
              </a:ext>
            </a:extLst>
          </p:cNvPr>
          <p:cNvSpPr txBox="1">
            <a:spLocks/>
          </p:cNvSpPr>
          <p:nvPr userDrawn="1"/>
        </p:nvSpPr>
        <p:spPr>
          <a:xfrm>
            <a:off x="11369993" y="6456998"/>
            <a:ext cx="271144" cy="17526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sv-SE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F2B5CF4-79E2-4BCE-8F81-53ED60D4893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88E7B470-5F15-4145-9718-7DA2B6CA12D5}"/>
              </a:ext>
            </a:extLst>
          </p:cNvPr>
          <p:cNvCxnSpPr/>
          <p:nvPr userDrawn="1"/>
        </p:nvCxnSpPr>
        <p:spPr>
          <a:xfrm flipH="1">
            <a:off x="11369993" y="6635115"/>
            <a:ext cx="27114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4F1B310-5A98-B341-882E-AF8830526034}"/>
              </a:ext>
            </a:extLst>
          </p:cNvPr>
          <p:cNvCxnSpPr/>
          <p:nvPr userDrawn="1"/>
        </p:nvCxnSpPr>
        <p:spPr>
          <a:xfrm flipH="1">
            <a:off x="11369993" y="6442437"/>
            <a:ext cx="27114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BFD7868E-D91D-974D-AC8A-7F2F6559D0B3}"/>
              </a:ext>
            </a:extLst>
          </p:cNvPr>
          <p:cNvSpPr txBox="1"/>
          <p:nvPr userDrawn="1"/>
        </p:nvSpPr>
        <p:spPr>
          <a:xfrm flipH="1">
            <a:off x="550863" y="6595778"/>
            <a:ext cx="1652387" cy="1077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400" cap="all" spc="80">
                <a:solidFill>
                  <a:schemeClr val="bg1"/>
                </a:solidFill>
              </a:rPr>
              <a:t>©</a:t>
            </a:r>
            <a:r>
              <a:rPr lang="en-US" sz="400" cap="all" spc="0" baseline="0">
                <a:solidFill>
                  <a:schemeClr val="bg1"/>
                </a:solidFill>
              </a:rPr>
              <a:t> </a:t>
            </a:r>
            <a:r>
              <a:rPr lang="en-US" sz="400" cap="all" spc="80">
                <a:solidFill>
                  <a:schemeClr val="bg1"/>
                </a:solidFill>
              </a:rPr>
              <a:t>Oriflame Cosmetics</a:t>
            </a:r>
            <a:r>
              <a:rPr lang="en-US" sz="400" cap="all" spc="80" baseline="0">
                <a:solidFill>
                  <a:schemeClr val="bg1"/>
                </a:solidFill>
              </a:rPr>
              <a:t> AG,2023</a:t>
            </a:r>
            <a:endParaRPr lang="en-US" sz="1600" cap="all" spc="80">
              <a:solidFill>
                <a:schemeClr val="bg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5E98E06-42B8-224D-8F6E-9BC85CDBDA26}"/>
              </a:ext>
            </a:extLst>
          </p:cNvPr>
          <p:cNvSpPr/>
          <p:nvPr userDrawn="1"/>
        </p:nvSpPr>
        <p:spPr>
          <a:xfrm>
            <a:off x="892" y="115888"/>
            <a:ext cx="12191108" cy="619283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070BED4D-0F1C-014E-954E-90C954A30D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6405" y="657225"/>
            <a:ext cx="5964734" cy="33709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1EBB14A1-5452-EC49-9951-5084A9DA5EAA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676403" y="1076356"/>
            <a:ext cx="5964734" cy="294853"/>
          </a:xfr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65112" indent="0">
              <a:buNone/>
              <a:defRPr/>
            </a:lvl2pPr>
            <a:lvl3pPr marL="501650" indent="0">
              <a:buNone/>
              <a:defRPr/>
            </a:lvl3pPr>
            <a:lvl4pPr marL="698500" indent="0">
              <a:buNone/>
              <a:defRPr/>
            </a:lvl4pPr>
            <a:lvl5pPr marL="944563" indent="0">
              <a:buNone/>
              <a:defRPr/>
            </a:lvl5pPr>
          </a:lstStyle>
          <a:p>
            <a:pPr lvl="0"/>
            <a:r>
              <a:rPr lang="en-GB" noProof="0"/>
              <a:t>Subheading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C389852-51D7-344F-9BE1-7CF6D200A38D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5676403" y="1697599"/>
            <a:ext cx="2766779" cy="41052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F5AF9BE8-C19D-BC40-A9D0-FEA13759695F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8874358" y="1697599"/>
            <a:ext cx="2766779" cy="41052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9CA77E86-52FE-784A-B72A-FCFCDCC98F2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87908" y="6299505"/>
            <a:ext cx="1422989" cy="49179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DD126C2-57A3-0A36-5E00-3285505110F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17481" y="534389"/>
            <a:ext cx="4725814" cy="5359630"/>
          </a:xfrm>
          <a:custGeom>
            <a:avLst/>
            <a:gdLst>
              <a:gd name="connsiteX0" fmla="*/ 2362908 w 4725814"/>
              <a:gd name="connsiteY0" fmla="*/ 0 h 5359630"/>
              <a:gd name="connsiteX1" fmla="*/ 4725814 w 4725814"/>
              <a:gd name="connsiteY1" fmla="*/ 2387066 h 5359630"/>
              <a:gd name="connsiteX2" fmla="*/ 2362908 w 4725814"/>
              <a:gd name="connsiteY2" fmla="*/ 4774134 h 5359630"/>
              <a:gd name="connsiteX3" fmla="*/ 2181104 w 4725814"/>
              <a:gd name="connsiteY3" fmla="*/ 4767175 h 5359630"/>
              <a:gd name="connsiteX4" fmla="*/ 2016289 w 4725814"/>
              <a:gd name="connsiteY4" fmla="*/ 4748158 h 5359630"/>
              <a:gd name="connsiteX5" fmla="*/ 2016290 w 4725814"/>
              <a:gd name="connsiteY5" fmla="*/ 4749741 h 5359630"/>
              <a:gd name="connsiteX6" fmla="*/ 1757658 w 4725814"/>
              <a:gd name="connsiteY6" fmla="*/ 4721130 h 5359630"/>
              <a:gd name="connsiteX7" fmla="*/ 455882 w 4725814"/>
              <a:gd name="connsiteY7" fmla="*/ 5087859 h 5359630"/>
              <a:gd name="connsiteX8" fmla="*/ 313697 w 4725814"/>
              <a:gd name="connsiteY8" fmla="*/ 5237221 h 5359630"/>
              <a:gd name="connsiteX9" fmla="*/ 312109 w 4725814"/>
              <a:gd name="connsiteY9" fmla="*/ 5237221 h 5359630"/>
              <a:gd name="connsiteX10" fmla="*/ 263836 w 4725814"/>
              <a:gd name="connsiteY10" fmla="*/ 5297670 h 5359630"/>
              <a:gd name="connsiteX11" fmla="*/ 259101 w 4725814"/>
              <a:gd name="connsiteY11" fmla="*/ 5305594 h 5359630"/>
              <a:gd name="connsiteX12" fmla="*/ 146249 w 4725814"/>
              <a:gd name="connsiteY12" fmla="*/ 5359630 h 5359630"/>
              <a:gd name="connsiteX13" fmla="*/ 11493 w 4725814"/>
              <a:gd name="connsiteY13" fmla="*/ 5268939 h 5359630"/>
              <a:gd name="connsiteX14" fmla="*/ 4018 w 4725814"/>
              <a:gd name="connsiteY14" fmla="*/ 5231347 h 5359630"/>
              <a:gd name="connsiteX15" fmla="*/ 1 w 4725814"/>
              <a:gd name="connsiteY15" fmla="*/ 5231347 h 5359630"/>
              <a:gd name="connsiteX16" fmla="*/ 1 w 4725814"/>
              <a:gd name="connsiteY16" fmla="*/ 5211147 h 5359630"/>
              <a:gd name="connsiteX17" fmla="*/ 0 w 4725814"/>
              <a:gd name="connsiteY17" fmla="*/ 5211141 h 5359630"/>
              <a:gd name="connsiteX18" fmla="*/ 1 w 4725814"/>
              <a:gd name="connsiteY18" fmla="*/ 5211132 h 5359630"/>
              <a:gd name="connsiteX19" fmla="*/ 2 w 4725814"/>
              <a:gd name="connsiteY19" fmla="*/ 2387068 h 5359630"/>
              <a:gd name="connsiteX20" fmla="*/ 2 w 4725814"/>
              <a:gd name="connsiteY20" fmla="*/ 2329581 h 5359630"/>
              <a:gd name="connsiteX21" fmla="*/ 2876 w 4725814"/>
              <a:gd name="connsiteY21" fmla="*/ 2329581 h 5359630"/>
              <a:gd name="connsiteX22" fmla="*/ 12201 w 4725814"/>
              <a:gd name="connsiteY22" fmla="*/ 2143004 h 5359630"/>
              <a:gd name="connsiteX23" fmla="*/ 2362908 w 4725814"/>
              <a:gd name="connsiteY23" fmla="*/ 0 h 5359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4725814" h="5359630">
                <a:moveTo>
                  <a:pt x="2362908" y="0"/>
                </a:moveTo>
                <a:cubicBezTo>
                  <a:pt x="3667905" y="0"/>
                  <a:pt x="4725815" y="1068726"/>
                  <a:pt x="4725814" y="2387066"/>
                </a:cubicBezTo>
                <a:cubicBezTo>
                  <a:pt x="4725814" y="3705408"/>
                  <a:pt x="3667905" y="4774134"/>
                  <a:pt x="2362908" y="4774134"/>
                </a:cubicBezTo>
                <a:cubicBezTo>
                  <a:pt x="2301736" y="4774135"/>
                  <a:pt x="2241107" y="4771786"/>
                  <a:pt x="2181104" y="4767175"/>
                </a:cubicBezTo>
                <a:lnTo>
                  <a:pt x="2016289" y="4748158"/>
                </a:lnTo>
                <a:lnTo>
                  <a:pt x="2016290" y="4749741"/>
                </a:lnTo>
                <a:lnTo>
                  <a:pt x="1757658" y="4721130"/>
                </a:lnTo>
                <a:cubicBezTo>
                  <a:pt x="1224144" y="4695993"/>
                  <a:pt x="745783" y="4843257"/>
                  <a:pt x="455882" y="5087859"/>
                </a:cubicBezTo>
                <a:lnTo>
                  <a:pt x="313697" y="5237221"/>
                </a:lnTo>
                <a:lnTo>
                  <a:pt x="312109" y="5237221"/>
                </a:lnTo>
                <a:lnTo>
                  <a:pt x="263836" y="5297670"/>
                </a:lnTo>
                <a:lnTo>
                  <a:pt x="259101" y="5305594"/>
                </a:lnTo>
                <a:cubicBezTo>
                  <a:pt x="232277" y="5338594"/>
                  <a:pt x="191682" y="5359629"/>
                  <a:pt x="146249" y="5359630"/>
                </a:cubicBezTo>
                <a:cubicBezTo>
                  <a:pt x="85671" y="5359630"/>
                  <a:pt x="33694" y="5322235"/>
                  <a:pt x="11493" y="5268939"/>
                </a:cubicBezTo>
                <a:lnTo>
                  <a:pt x="4018" y="5231347"/>
                </a:lnTo>
                <a:lnTo>
                  <a:pt x="1" y="5231347"/>
                </a:lnTo>
                <a:lnTo>
                  <a:pt x="1" y="5211147"/>
                </a:lnTo>
                <a:lnTo>
                  <a:pt x="0" y="5211141"/>
                </a:lnTo>
                <a:lnTo>
                  <a:pt x="1" y="5211132"/>
                </a:lnTo>
                <a:lnTo>
                  <a:pt x="2" y="2387068"/>
                </a:lnTo>
                <a:lnTo>
                  <a:pt x="2" y="2329581"/>
                </a:lnTo>
                <a:lnTo>
                  <a:pt x="2876" y="2329581"/>
                </a:lnTo>
                <a:lnTo>
                  <a:pt x="12201" y="2143004"/>
                </a:lnTo>
                <a:cubicBezTo>
                  <a:pt x="133206" y="939311"/>
                  <a:pt x="1139473" y="1"/>
                  <a:pt x="2362908" y="0"/>
                </a:cubicBez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1735631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ext column left + custom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67FAA6B1-FC8D-A748-BFD3-1C409D0C4A80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err="1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B86BFD4-AD79-8A4E-861F-9B58C1D765B4}"/>
              </a:ext>
            </a:extLst>
          </p:cNvPr>
          <p:cNvSpPr/>
          <p:nvPr userDrawn="1"/>
        </p:nvSpPr>
        <p:spPr>
          <a:xfrm>
            <a:off x="892" y="115888"/>
            <a:ext cx="12191108" cy="619283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42854CF5-3CC7-CA4D-B008-67EC77819E93}"/>
              </a:ext>
            </a:extLst>
          </p:cNvPr>
          <p:cNvSpPr txBox="1">
            <a:spLocks/>
          </p:cNvSpPr>
          <p:nvPr userDrawn="1"/>
        </p:nvSpPr>
        <p:spPr>
          <a:xfrm>
            <a:off x="11369993" y="6456998"/>
            <a:ext cx="271144" cy="17526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sv-SE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F2B5CF4-79E2-4BCE-8F81-53ED60D4893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6383373F-2238-B04D-A171-3F55A4A26D1F}"/>
              </a:ext>
            </a:extLst>
          </p:cNvPr>
          <p:cNvCxnSpPr/>
          <p:nvPr userDrawn="1"/>
        </p:nvCxnSpPr>
        <p:spPr>
          <a:xfrm flipH="1">
            <a:off x="11369993" y="6635115"/>
            <a:ext cx="27114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55FA333-8C58-084B-9C36-4BB7FC7BE700}"/>
              </a:ext>
            </a:extLst>
          </p:cNvPr>
          <p:cNvCxnSpPr/>
          <p:nvPr userDrawn="1"/>
        </p:nvCxnSpPr>
        <p:spPr>
          <a:xfrm flipH="1">
            <a:off x="11369993" y="6442437"/>
            <a:ext cx="27114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1E5F2D1F-DDE1-E743-9F21-F2A6A25DC89C}"/>
              </a:ext>
            </a:extLst>
          </p:cNvPr>
          <p:cNvSpPr txBox="1"/>
          <p:nvPr userDrawn="1"/>
        </p:nvSpPr>
        <p:spPr>
          <a:xfrm flipH="1">
            <a:off x="550863" y="6595778"/>
            <a:ext cx="1652387" cy="1077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400" cap="all" spc="80">
                <a:solidFill>
                  <a:schemeClr val="bg1"/>
                </a:solidFill>
              </a:rPr>
              <a:t>©</a:t>
            </a:r>
            <a:r>
              <a:rPr lang="en-US" sz="400" cap="all" spc="0" baseline="0">
                <a:solidFill>
                  <a:schemeClr val="bg1"/>
                </a:solidFill>
              </a:rPr>
              <a:t> </a:t>
            </a:r>
            <a:r>
              <a:rPr lang="en-US" sz="400" cap="all" spc="80">
                <a:solidFill>
                  <a:schemeClr val="bg1"/>
                </a:solidFill>
              </a:rPr>
              <a:t>Oriflame Cosmetics</a:t>
            </a:r>
            <a:r>
              <a:rPr lang="en-US" sz="400" cap="all" spc="80" baseline="0">
                <a:solidFill>
                  <a:schemeClr val="bg1"/>
                </a:solidFill>
              </a:rPr>
              <a:t> AG,2023</a:t>
            </a:r>
            <a:endParaRPr lang="en-US" sz="1600" cap="all" spc="80">
              <a:solidFill>
                <a:schemeClr val="bg1"/>
              </a:solidFill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C097A874-BCC8-7741-ADE9-D8C7A23194D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87908" y="6299505"/>
            <a:ext cx="1422989" cy="491798"/>
          </a:xfrm>
          <a:prstGeom prst="rect">
            <a:avLst/>
          </a:prstGeom>
        </p:spPr>
      </p:pic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E79005A-1B7D-BB11-FFC9-3A5C944286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0863" y="1697598"/>
            <a:ext cx="5545137" cy="41052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13F9C708-B108-87F1-3D7C-30B27FDA6B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4" y="657225"/>
            <a:ext cx="5545136" cy="352434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55BAA834-65D8-B68F-0258-4158734E625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50864" y="1076356"/>
            <a:ext cx="5545136" cy="294852"/>
          </a:xfr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65112" indent="0">
              <a:buNone/>
              <a:defRPr/>
            </a:lvl2pPr>
            <a:lvl3pPr marL="501650" indent="0">
              <a:buNone/>
              <a:defRPr/>
            </a:lvl3pPr>
            <a:lvl4pPr marL="698500" indent="0">
              <a:buNone/>
              <a:defRPr/>
            </a:lvl4pPr>
            <a:lvl5pPr marL="944563" indent="0">
              <a:buNone/>
              <a:defRPr/>
            </a:lvl5pPr>
          </a:lstStyle>
          <a:p>
            <a:pPr lvl="0"/>
            <a:r>
              <a:rPr lang="en-GB" noProof="0"/>
              <a:t>Subheading</a:t>
            </a:r>
          </a:p>
        </p:txBody>
      </p:sp>
      <p:sp>
        <p:nvSpPr>
          <p:cNvPr id="34" name="Picture Placeholder 33">
            <a:extLst>
              <a:ext uri="{FF2B5EF4-FFF2-40B4-BE49-F238E27FC236}">
                <a16:creationId xmlns:a16="http://schemas.microsoft.com/office/drawing/2014/main" id="{40239C2D-46A0-E355-1F06-971EBCA7399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487104" y="630577"/>
            <a:ext cx="5901008" cy="5199883"/>
          </a:xfrm>
          <a:custGeom>
            <a:avLst/>
            <a:gdLst>
              <a:gd name="connsiteX0" fmla="*/ 2567319 w 5901008"/>
              <a:gd name="connsiteY0" fmla="*/ 0 h 5199883"/>
              <a:gd name="connsiteX1" fmla="*/ 2630571 w 5901008"/>
              <a:gd name="connsiteY1" fmla="*/ 100 h 5199883"/>
              <a:gd name="connsiteX2" fmla="*/ 5737871 w 5901008"/>
              <a:gd name="connsiteY2" fmla="*/ 4991 h 5199883"/>
              <a:gd name="connsiteX3" fmla="*/ 5737880 w 5901008"/>
              <a:gd name="connsiteY3" fmla="*/ 4990 h 5199883"/>
              <a:gd name="connsiteX4" fmla="*/ 5737886 w 5901008"/>
              <a:gd name="connsiteY4" fmla="*/ 4990 h 5199883"/>
              <a:gd name="connsiteX5" fmla="*/ 5760113 w 5901008"/>
              <a:gd name="connsiteY5" fmla="*/ 5025 h 5199883"/>
              <a:gd name="connsiteX6" fmla="*/ 5760106 w 5901008"/>
              <a:gd name="connsiteY6" fmla="*/ 9445 h 5199883"/>
              <a:gd name="connsiteX7" fmla="*/ 5801455 w 5901008"/>
              <a:gd name="connsiteY7" fmla="*/ 17736 h 5199883"/>
              <a:gd name="connsiteX8" fmla="*/ 5901008 w 5901008"/>
              <a:gd name="connsiteY8" fmla="*/ 166163 h 5199883"/>
              <a:gd name="connsiteX9" fmla="*/ 5841357 w 5901008"/>
              <a:gd name="connsiteY9" fmla="*/ 290240 h 5199883"/>
              <a:gd name="connsiteX10" fmla="*/ 5832630 w 5901008"/>
              <a:gd name="connsiteY10" fmla="*/ 295436 h 5199883"/>
              <a:gd name="connsiteX11" fmla="*/ 5766036 w 5901008"/>
              <a:gd name="connsiteY11" fmla="*/ 348446 h 5199883"/>
              <a:gd name="connsiteX12" fmla="*/ 5766032 w 5901008"/>
              <a:gd name="connsiteY12" fmla="*/ 350193 h 5199883"/>
              <a:gd name="connsiteX13" fmla="*/ 5601444 w 5901008"/>
              <a:gd name="connsiteY13" fmla="*/ 506380 h 5199883"/>
              <a:gd name="connsiteX14" fmla="*/ 5195680 w 5901008"/>
              <a:gd name="connsiteY14" fmla="*/ 1938080 h 5199883"/>
              <a:gd name="connsiteX15" fmla="*/ 5226713 w 5901008"/>
              <a:gd name="connsiteY15" fmla="*/ 2222700 h 5199883"/>
              <a:gd name="connsiteX16" fmla="*/ 5224970 w 5901008"/>
              <a:gd name="connsiteY16" fmla="*/ 2222697 h 5199883"/>
              <a:gd name="connsiteX17" fmla="*/ 5245609 w 5901008"/>
              <a:gd name="connsiteY17" fmla="*/ 2404074 h 5199883"/>
              <a:gd name="connsiteX18" fmla="*/ 5252951 w 5901008"/>
              <a:gd name="connsiteY18" fmla="*/ 2604124 h 5199883"/>
              <a:gd name="connsiteX19" fmla="*/ 2622385 w 5901008"/>
              <a:gd name="connsiteY19" fmla="*/ 5199880 h 5199883"/>
              <a:gd name="connsiteX20" fmla="*/ 4 w 5901008"/>
              <a:gd name="connsiteY20" fmla="*/ 2595854 h 5199883"/>
              <a:gd name="connsiteX21" fmla="*/ 2362009 w 5901008"/>
              <a:gd name="connsiteY21" fmla="*/ 13099 h 5199883"/>
              <a:gd name="connsiteX22" fmla="*/ 2567314 w 5901008"/>
              <a:gd name="connsiteY22" fmla="*/ 3162 h 51998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5901008" h="5199883">
                <a:moveTo>
                  <a:pt x="2567319" y="0"/>
                </a:moveTo>
                <a:lnTo>
                  <a:pt x="2630571" y="100"/>
                </a:lnTo>
                <a:lnTo>
                  <a:pt x="5737871" y="4991"/>
                </a:lnTo>
                <a:lnTo>
                  <a:pt x="5737880" y="4990"/>
                </a:lnTo>
                <a:lnTo>
                  <a:pt x="5737886" y="4990"/>
                </a:lnTo>
                <a:lnTo>
                  <a:pt x="5760113" y="5025"/>
                </a:lnTo>
                <a:lnTo>
                  <a:pt x="5760106" y="9445"/>
                </a:lnTo>
                <a:lnTo>
                  <a:pt x="5801455" y="17736"/>
                </a:lnTo>
                <a:cubicBezTo>
                  <a:pt x="5860058" y="42256"/>
                  <a:pt x="5901113" y="99510"/>
                  <a:pt x="5901008" y="166163"/>
                </a:cubicBezTo>
                <a:cubicBezTo>
                  <a:pt x="5900929" y="216153"/>
                  <a:pt x="5877714" y="260783"/>
                  <a:pt x="5841357" y="290240"/>
                </a:cubicBezTo>
                <a:lnTo>
                  <a:pt x="5832630" y="295436"/>
                </a:lnTo>
                <a:lnTo>
                  <a:pt x="5766036" y="348446"/>
                </a:lnTo>
                <a:lnTo>
                  <a:pt x="5766032" y="350193"/>
                </a:lnTo>
                <a:lnTo>
                  <a:pt x="5601444" y="506380"/>
                </a:lnTo>
                <a:cubicBezTo>
                  <a:pt x="5331808" y="824932"/>
                  <a:pt x="5168946" y="1351015"/>
                  <a:pt x="5195680" y="1938080"/>
                </a:cubicBezTo>
                <a:lnTo>
                  <a:pt x="5226713" y="2222700"/>
                </a:lnTo>
                <a:lnTo>
                  <a:pt x="5224970" y="2222697"/>
                </a:lnTo>
                <a:lnTo>
                  <a:pt x="5245609" y="2404074"/>
                </a:lnTo>
                <a:cubicBezTo>
                  <a:pt x="5250579" y="2470104"/>
                  <a:pt x="5253058" y="2536817"/>
                  <a:pt x="5252951" y="2604124"/>
                </a:cubicBezTo>
                <a:cubicBezTo>
                  <a:pt x="5250691" y="4040004"/>
                  <a:pt x="4072947" y="5202163"/>
                  <a:pt x="2622385" y="5199880"/>
                </a:cubicBezTo>
                <a:cubicBezTo>
                  <a:pt x="1171824" y="5197596"/>
                  <a:pt x="-2256" y="4031734"/>
                  <a:pt x="4" y="2595854"/>
                </a:cubicBezTo>
                <a:cubicBezTo>
                  <a:pt x="2124" y="1249717"/>
                  <a:pt x="1037383" y="144155"/>
                  <a:pt x="2362009" y="13099"/>
                </a:cubicBezTo>
                <a:lnTo>
                  <a:pt x="2567314" y="3162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br>
              <a:rPr lang="en-GB"/>
            </a:br>
            <a:r>
              <a:rPr lang="en-GB"/>
              <a:t>Click symbol </a:t>
            </a:r>
            <a:br>
              <a:rPr lang="en-GB"/>
            </a:br>
            <a:r>
              <a:rPr lang="en-GB"/>
              <a:t>to insert image</a:t>
            </a:r>
          </a:p>
        </p:txBody>
      </p:sp>
    </p:spTree>
    <p:extLst>
      <p:ext uri="{BB962C8B-B14F-4D97-AF65-F5344CB8AC3E}">
        <p14:creationId xmlns:p14="http://schemas.microsoft.com/office/powerpoint/2010/main" val="37246695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11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ext column right + custom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67FAA6B1-FC8D-A748-BFD3-1C409D0C4A80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err="1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B86BFD4-AD79-8A4E-861F-9B58C1D765B4}"/>
              </a:ext>
            </a:extLst>
          </p:cNvPr>
          <p:cNvSpPr/>
          <p:nvPr userDrawn="1"/>
        </p:nvSpPr>
        <p:spPr>
          <a:xfrm>
            <a:off x="892" y="115888"/>
            <a:ext cx="12191108" cy="619283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42854CF5-3CC7-CA4D-B008-67EC77819E93}"/>
              </a:ext>
            </a:extLst>
          </p:cNvPr>
          <p:cNvSpPr txBox="1">
            <a:spLocks/>
          </p:cNvSpPr>
          <p:nvPr userDrawn="1"/>
        </p:nvSpPr>
        <p:spPr>
          <a:xfrm>
            <a:off x="11369993" y="6456998"/>
            <a:ext cx="271144" cy="17526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sv-SE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F2B5CF4-79E2-4BCE-8F81-53ED60D4893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6383373F-2238-B04D-A171-3F55A4A26D1F}"/>
              </a:ext>
            </a:extLst>
          </p:cNvPr>
          <p:cNvCxnSpPr/>
          <p:nvPr userDrawn="1"/>
        </p:nvCxnSpPr>
        <p:spPr>
          <a:xfrm flipH="1">
            <a:off x="11369993" y="6635115"/>
            <a:ext cx="27114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55FA333-8C58-084B-9C36-4BB7FC7BE700}"/>
              </a:ext>
            </a:extLst>
          </p:cNvPr>
          <p:cNvCxnSpPr/>
          <p:nvPr userDrawn="1"/>
        </p:nvCxnSpPr>
        <p:spPr>
          <a:xfrm flipH="1">
            <a:off x="11369993" y="6442437"/>
            <a:ext cx="27114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1E5F2D1F-DDE1-E743-9F21-F2A6A25DC89C}"/>
              </a:ext>
            </a:extLst>
          </p:cNvPr>
          <p:cNvSpPr txBox="1"/>
          <p:nvPr userDrawn="1"/>
        </p:nvSpPr>
        <p:spPr>
          <a:xfrm flipH="1">
            <a:off x="550863" y="6595778"/>
            <a:ext cx="1652387" cy="1077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400" cap="all" spc="80">
                <a:solidFill>
                  <a:schemeClr val="bg1"/>
                </a:solidFill>
              </a:rPr>
              <a:t>©</a:t>
            </a:r>
            <a:r>
              <a:rPr lang="en-US" sz="400" cap="all" spc="0" baseline="0">
                <a:solidFill>
                  <a:schemeClr val="bg1"/>
                </a:solidFill>
              </a:rPr>
              <a:t> </a:t>
            </a:r>
            <a:r>
              <a:rPr lang="en-US" sz="400" cap="all" spc="80">
                <a:solidFill>
                  <a:schemeClr val="bg1"/>
                </a:solidFill>
              </a:rPr>
              <a:t>Oriflame Cosmetics</a:t>
            </a:r>
            <a:r>
              <a:rPr lang="en-US" sz="400" cap="all" spc="80" baseline="0">
                <a:solidFill>
                  <a:schemeClr val="bg1"/>
                </a:solidFill>
              </a:rPr>
              <a:t> AG,2023</a:t>
            </a:r>
            <a:endParaRPr lang="en-US" sz="1600" cap="all" spc="80">
              <a:solidFill>
                <a:schemeClr val="bg1"/>
              </a:solidFill>
            </a:endParaRP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1D2E1F90-3812-9E4D-A8C4-ED19B48656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87908" y="6299505"/>
            <a:ext cx="1422989" cy="491798"/>
          </a:xfrm>
          <a:prstGeom prst="rect">
            <a:avLst/>
          </a:prstGeom>
        </p:spPr>
      </p:pic>
      <p:sp>
        <p:nvSpPr>
          <p:cNvPr id="30" name="Picture Placeholder 29">
            <a:extLst>
              <a:ext uri="{FF2B5EF4-FFF2-40B4-BE49-F238E27FC236}">
                <a16:creationId xmlns:a16="http://schemas.microsoft.com/office/drawing/2014/main" id="{C0200C5F-14EF-26C7-85DA-4F405192121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195250" y="630576"/>
            <a:ext cx="5900147" cy="5199883"/>
          </a:xfrm>
          <a:custGeom>
            <a:avLst/>
            <a:gdLst>
              <a:gd name="connsiteX0" fmla="*/ 2979479 w 5273127"/>
              <a:gd name="connsiteY0" fmla="*/ 0 h 4647281"/>
              <a:gd name="connsiteX1" fmla="*/ 2979482 w 5273127"/>
              <a:gd name="connsiteY1" fmla="*/ 2826 h 4647281"/>
              <a:gd name="connsiteX2" fmla="*/ 3162967 w 5273127"/>
              <a:gd name="connsiteY2" fmla="*/ 11774 h 4647281"/>
              <a:gd name="connsiteX3" fmla="*/ 5273126 w 5273127"/>
              <a:gd name="connsiteY3" fmla="*/ 2320833 h 4647281"/>
              <a:gd name="connsiteX4" fmla="*/ 2928573 w 5273127"/>
              <a:gd name="connsiteY4" fmla="*/ 4647280 h 4647281"/>
              <a:gd name="connsiteX5" fmla="*/ 578397 w 5273127"/>
              <a:gd name="connsiteY5" fmla="*/ 2326514 h 4647281"/>
              <a:gd name="connsiteX6" fmla="*/ 585024 w 5273127"/>
              <a:gd name="connsiteY6" fmla="*/ 2147726 h 4647281"/>
              <a:gd name="connsiteX7" fmla="*/ 603528 w 5273127"/>
              <a:gd name="connsiteY7" fmla="*/ 1985630 h 4647281"/>
              <a:gd name="connsiteX8" fmla="*/ 601971 w 5273127"/>
              <a:gd name="connsiteY8" fmla="*/ 1985632 h 4647281"/>
              <a:gd name="connsiteX9" fmla="*/ 629798 w 5273127"/>
              <a:gd name="connsiteY9" fmla="*/ 1731268 h 4647281"/>
              <a:gd name="connsiteX10" fmla="*/ 267621 w 5273127"/>
              <a:gd name="connsiteY10" fmla="*/ 451580 h 4647281"/>
              <a:gd name="connsiteX11" fmla="*/ 120574 w 5273127"/>
              <a:gd name="connsiteY11" fmla="*/ 311938 h 4647281"/>
              <a:gd name="connsiteX12" fmla="*/ 120571 w 5273127"/>
              <a:gd name="connsiteY12" fmla="*/ 310376 h 4647281"/>
              <a:gd name="connsiteX13" fmla="*/ 61070 w 5273127"/>
              <a:gd name="connsiteY13" fmla="*/ 262978 h 4647281"/>
              <a:gd name="connsiteX14" fmla="*/ 53273 w 5273127"/>
              <a:gd name="connsiteY14" fmla="*/ 258331 h 4647281"/>
              <a:gd name="connsiteX15" fmla="*/ 1 w 5273127"/>
              <a:gd name="connsiteY15" fmla="*/ 147420 h 4647281"/>
              <a:gd name="connsiteX16" fmla="*/ 89023 w 5273127"/>
              <a:gd name="connsiteY16" fmla="*/ 14798 h 4647281"/>
              <a:gd name="connsiteX17" fmla="*/ 125981 w 5273127"/>
              <a:gd name="connsiteY17" fmla="*/ 7402 h 4647281"/>
              <a:gd name="connsiteX18" fmla="*/ 125976 w 5273127"/>
              <a:gd name="connsiteY18" fmla="*/ 3452 h 4647281"/>
              <a:gd name="connsiteX19" fmla="*/ 145841 w 5273127"/>
              <a:gd name="connsiteY19" fmla="*/ 3428 h 4647281"/>
              <a:gd name="connsiteX20" fmla="*/ 145847 w 5273127"/>
              <a:gd name="connsiteY20" fmla="*/ 3427 h 4647281"/>
              <a:gd name="connsiteX21" fmla="*/ 145855 w 5273127"/>
              <a:gd name="connsiteY21" fmla="*/ 3428 h 4647281"/>
              <a:gd name="connsiteX22" fmla="*/ 2922949 w 5273127"/>
              <a:gd name="connsiteY22" fmla="*/ 69 h 46472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5273127" h="4647281">
                <a:moveTo>
                  <a:pt x="2979479" y="0"/>
                </a:moveTo>
                <a:lnTo>
                  <a:pt x="2979482" y="2826"/>
                </a:lnTo>
                <a:lnTo>
                  <a:pt x="3162967" y="11774"/>
                </a:lnTo>
                <a:cubicBezTo>
                  <a:pt x="4346785" y="129334"/>
                  <a:pt x="5271669" y="1117747"/>
                  <a:pt x="5273126" y="2320833"/>
                </a:cubicBezTo>
                <a:cubicBezTo>
                  <a:pt x="5274679" y="3604126"/>
                  <a:pt x="4224987" y="4645711"/>
                  <a:pt x="2928573" y="4647280"/>
                </a:cubicBezTo>
                <a:cubicBezTo>
                  <a:pt x="1632159" y="4648848"/>
                  <a:pt x="579950" y="3609807"/>
                  <a:pt x="578397" y="2326514"/>
                </a:cubicBezTo>
                <a:cubicBezTo>
                  <a:pt x="578323" y="2266360"/>
                  <a:pt x="580560" y="2206737"/>
                  <a:pt x="585024" y="2147726"/>
                </a:cubicBezTo>
                <a:lnTo>
                  <a:pt x="603528" y="1985630"/>
                </a:lnTo>
                <a:lnTo>
                  <a:pt x="601971" y="1985632"/>
                </a:lnTo>
                <a:lnTo>
                  <a:pt x="629798" y="1731268"/>
                </a:lnTo>
                <a:cubicBezTo>
                  <a:pt x="653882" y="1206598"/>
                  <a:pt x="508499" y="736369"/>
                  <a:pt x="267621" y="451580"/>
                </a:cubicBezTo>
                <a:lnTo>
                  <a:pt x="120574" y="311938"/>
                </a:lnTo>
                <a:lnTo>
                  <a:pt x="120571" y="310376"/>
                </a:lnTo>
                <a:lnTo>
                  <a:pt x="61070" y="262978"/>
                </a:lnTo>
                <a:lnTo>
                  <a:pt x="53273" y="258331"/>
                </a:lnTo>
                <a:cubicBezTo>
                  <a:pt x="20789" y="231993"/>
                  <a:pt x="56" y="192097"/>
                  <a:pt x="1" y="147420"/>
                </a:cubicBezTo>
                <a:cubicBezTo>
                  <a:pt x="-71" y="87850"/>
                  <a:pt x="36640" y="36693"/>
                  <a:pt x="89023" y="14798"/>
                </a:cubicBezTo>
                <a:lnTo>
                  <a:pt x="125981" y="7402"/>
                </a:lnTo>
                <a:lnTo>
                  <a:pt x="125976" y="3452"/>
                </a:lnTo>
                <a:lnTo>
                  <a:pt x="145841" y="3428"/>
                </a:lnTo>
                <a:lnTo>
                  <a:pt x="145847" y="3427"/>
                </a:lnTo>
                <a:lnTo>
                  <a:pt x="145855" y="3428"/>
                </a:lnTo>
                <a:lnTo>
                  <a:pt x="2922949" y="69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br>
              <a:rPr lang="en-GB"/>
            </a:br>
            <a:r>
              <a:rPr lang="en-GB"/>
              <a:t>Click symbol </a:t>
            </a:r>
            <a:br>
              <a:rPr lang="en-GB"/>
            </a:br>
            <a:r>
              <a:rPr lang="en-GB"/>
              <a:t>to insert image</a:t>
            </a:r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2FE05B46-7D17-2828-80D6-C6EF9957AEB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96000" y="1697598"/>
            <a:ext cx="5528216" cy="41052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34" name="Title Placeholder 1">
            <a:extLst>
              <a:ext uri="{FF2B5EF4-FFF2-40B4-BE49-F238E27FC236}">
                <a16:creationId xmlns:a16="http://schemas.microsoft.com/office/drawing/2014/main" id="{D7DAA208-554B-2CB1-826F-8F7E233632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0" y="657225"/>
            <a:ext cx="5528216" cy="33709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76EA04E2-D8BA-3984-1561-D69B8E435BAA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096000" y="1076357"/>
            <a:ext cx="5528216" cy="294851"/>
          </a:xfr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65112" indent="0">
              <a:buNone/>
              <a:defRPr/>
            </a:lvl2pPr>
            <a:lvl3pPr marL="501650" indent="0">
              <a:buNone/>
              <a:defRPr/>
            </a:lvl3pPr>
            <a:lvl4pPr marL="698500" indent="0">
              <a:buNone/>
              <a:defRPr/>
            </a:lvl4pPr>
            <a:lvl5pPr marL="944563" indent="0">
              <a:buNone/>
              <a:defRPr/>
            </a:lvl5pPr>
          </a:lstStyle>
          <a:p>
            <a:pPr lvl="0"/>
            <a:r>
              <a:rPr lang="en-GB" noProof="0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31685977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11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 page – long title, stat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67DDCDAD-2AA8-4240-955B-EF15CBD9E5A1}"/>
              </a:ext>
            </a:extLst>
          </p:cNvPr>
          <p:cNvSpPr/>
          <p:nvPr userDrawn="1"/>
        </p:nvSpPr>
        <p:spPr>
          <a:xfrm>
            <a:off x="0" y="0"/>
            <a:ext cx="8110835" cy="573405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bg1">
                  <a:lumMod val="9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50035" y="5985530"/>
            <a:ext cx="2022613" cy="380437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3F51AF07-C77D-A84B-9984-ED4C4144EABB}"/>
              </a:ext>
            </a:extLst>
          </p:cNvPr>
          <p:cNvSpPr txBox="1"/>
          <p:nvPr userDrawn="1"/>
        </p:nvSpPr>
        <p:spPr>
          <a:xfrm>
            <a:off x="10396728" y="-82296"/>
            <a:ext cx="18473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sv-SE" sz="2000" err="1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B8B2957-7FFB-0A0F-F1A3-12A07C805E9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10835" y="274417"/>
            <a:ext cx="4081165" cy="6597649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343D1FF2-A078-350C-92AB-B2EE1837AAB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01444" y="2345006"/>
            <a:ext cx="7310840" cy="1721336"/>
          </a:xfrm>
        </p:spPr>
        <p:txBody>
          <a:bodyPr anchor="b">
            <a:noAutofit/>
          </a:bodyPr>
          <a:lstStyle>
            <a:lvl1pPr algn="ctr">
              <a:defRPr sz="6000" spc="-15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Title of your presentation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28053F8-2816-FC00-13E9-98C22F9D414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51057" y="181693"/>
            <a:ext cx="2808722" cy="1466559"/>
          </a:xfrm>
          <a:prstGeom prst="rect">
            <a:avLst/>
          </a:prstGeom>
        </p:spPr>
      </p:pic>
      <p:sp>
        <p:nvSpPr>
          <p:cNvPr id="5" name="Subtitle 2">
            <a:extLst>
              <a:ext uri="{FF2B5EF4-FFF2-40B4-BE49-F238E27FC236}">
                <a16:creationId xmlns:a16="http://schemas.microsoft.com/office/drawing/2014/main" id="{EF37EB6B-C045-12B9-169E-BE6F7CB72D3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0152" y="4169525"/>
            <a:ext cx="7310842" cy="1092646"/>
          </a:xfrm>
        </p:spPr>
        <p:txBody>
          <a:bodyPr>
            <a:noAutofit/>
          </a:bodyPr>
          <a:lstStyle>
            <a:lvl1pPr marL="0" indent="0" algn="ctr">
              <a:buNone/>
              <a:defRPr sz="2000" kern="2000" spc="1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Sub title</a:t>
            </a:r>
          </a:p>
        </p:txBody>
      </p:sp>
    </p:spTree>
    <p:extLst>
      <p:ext uri="{BB962C8B-B14F-4D97-AF65-F5344CB8AC3E}">
        <p14:creationId xmlns:p14="http://schemas.microsoft.com/office/powerpoint/2010/main" val="186004271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text columns left + custom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6A4BF8AB-B6B8-254D-8ABE-F19FECC96359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err="1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0A16828-FEF2-284E-90BA-7C602370D59E}"/>
              </a:ext>
            </a:extLst>
          </p:cNvPr>
          <p:cNvSpPr/>
          <p:nvPr userDrawn="1"/>
        </p:nvSpPr>
        <p:spPr>
          <a:xfrm>
            <a:off x="892" y="115888"/>
            <a:ext cx="12191108" cy="619283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F8A306C1-6C6A-2E43-BB65-60BE23FCB505}"/>
              </a:ext>
            </a:extLst>
          </p:cNvPr>
          <p:cNvSpPr txBox="1">
            <a:spLocks/>
          </p:cNvSpPr>
          <p:nvPr userDrawn="1"/>
        </p:nvSpPr>
        <p:spPr>
          <a:xfrm>
            <a:off x="11369993" y="6456998"/>
            <a:ext cx="271144" cy="17526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sv-SE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F2B5CF4-79E2-4BCE-8F81-53ED60D4893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F287CD86-6FD7-5647-9CFB-A85C861F2E04}"/>
              </a:ext>
            </a:extLst>
          </p:cNvPr>
          <p:cNvCxnSpPr/>
          <p:nvPr userDrawn="1"/>
        </p:nvCxnSpPr>
        <p:spPr>
          <a:xfrm flipH="1">
            <a:off x="11369993" y="6635115"/>
            <a:ext cx="27114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345EF3AB-273B-F84A-BBAF-7AB8EE0296FF}"/>
              </a:ext>
            </a:extLst>
          </p:cNvPr>
          <p:cNvCxnSpPr/>
          <p:nvPr userDrawn="1"/>
        </p:nvCxnSpPr>
        <p:spPr>
          <a:xfrm flipH="1">
            <a:off x="11369993" y="6442437"/>
            <a:ext cx="27114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0732E783-29A2-0448-B56C-0A88033E8C15}"/>
              </a:ext>
            </a:extLst>
          </p:cNvPr>
          <p:cNvSpPr txBox="1"/>
          <p:nvPr userDrawn="1"/>
        </p:nvSpPr>
        <p:spPr>
          <a:xfrm flipH="1">
            <a:off x="550863" y="6595778"/>
            <a:ext cx="1652387" cy="1077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400" cap="all" spc="80">
                <a:solidFill>
                  <a:schemeClr val="bg1"/>
                </a:solidFill>
              </a:rPr>
              <a:t>©</a:t>
            </a:r>
            <a:r>
              <a:rPr lang="en-US" sz="400" cap="all" spc="0" baseline="0">
                <a:solidFill>
                  <a:schemeClr val="bg1"/>
                </a:solidFill>
              </a:rPr>
              <a:t> </a:t>
            </a:r>
            <a:r>
              <a:rPr lang="en-US" sz="400" cap="all" spc="80">
                <a:solidFill>
                  <a:schemeClr val="bg1"/>
                </a:solidFill>
              </a:rPr>
              <a:t>Oriflame Cosmetics</a:t>
            </a:r>
            <a:r>
              <a:rPr lang="en-US" sz="400" cap="all" spc="80" baseline="0">
                <a:solidFill>
                  <a:schemeClr val="bg1"/>
                </a:solidFill>
              </a:rPr>
              <a:t> AG,2023</a:t>
            </a:r>
            <a:endParaRPr lang="en-US" sz="1600" cap="all" spc="80">
              <a:solidFill>
                <a:schemeClr val="bg1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892" y="115888"/>
            <a:ext cx="12191108" cy="619283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DFA11BB4-3919-5A4B-9BFB-F28164D8C2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87908" y="6299505"/>
            <a:ext cx="1422989" cy="491798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1A1662F-1BF5-82F6-F142-DDE0340EC3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5" y="657224"/>
            <a:ext cx="5929728" cy="35243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F5E84BE-5BB2-D084-C29C-B6D5689B3079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50865" y="1076357"/>
            <a:ext cx="5929728" cy="294852"/>
          </a:xfr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65112" indent="0">
              <a:buNone/>
              <a:defRPr/>
            </a:lvl2pPr>
            <a:lvl3pPr marL="501650" indent="0">
              <a:buNone/>
              <a:defRPr/>
            </a:lvl3pPr>
            <a:lvl4pPr marL="698500" indent="0">
              <a:buNone/>
              <a:defRPr/>
            </a:lvl4pPr>
            <a:lvl5pPr marL="944563" indent="0">
              <a:buNone/>
              <a:defRPr/>
            </a:lvl5pPr>
          </a:lstStyle>
          <a:p>
            <a:pPr lvl="0"/>
            <a:r>
              <a:rPr lang="en-GB" noProof="0"/>
              <a:t>Subheading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85F5DD1-087B-C37A-87C1-B81F50A63270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551384" y="1697599"/>
            <a:ext cx="2745425" cy="41052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73F8FCF3-5221-5E32-FA1D-1DC2FE4BBF43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3735167" y="1697599"/>
            <a:ext cx="2745425" cy="41052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D5F91F3-5249-7F69-23BA-1B84F2FC54A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918951" y="534548"/>
            <a:ext cx="4722185" cy="5355515"/>
          </a:xfrm>
          <a:custGeom>
            <a:avLst/>
            <a:gdLst>
              <a:gd name="connsiteX0" fmla="*/ 2361092 w 4722185"/>
              <a:gd name="connsiteY0" fmla="*/ 0 h 5355515"/>
              <a:gd name="connsiteX1" fmla="*/ 4709994 w 4722185"/>
              <a:gd name="connsiteY1" fmla="*/ 2141359 h 5355515"/>
              <a:gd name="connsiteX2" fmla="*/ 4719312 w 4722185"/>
              <a:gd name="connsiteY2" fmla="*/ 2327793 h 5355515"/>
              <a:gd name="connsiteX3" fmla="*/ 4722184 w 4722185"/>
              <a:gd name="connsiteY3" fmla="*/ 2327793 h 5355515"/>
              <a:gd name="connsiteX4" fmla="*/ 4722183 w 4722185"/>
              <a:gd name="connsiteY4" fmla="*/ 2385235 h 5355515"/>
              <a:gd name="connsiteX5" fmla="*/ 4722184 w 4722185"/>
              <a:gd name="connsiteY5" fmla="*/ 5207131 h 5355515"/>
              <a:gd name="connsiteX6" fmla="*/ 4722185 w 4722185"/>
              <a:gd name="connsiteY6" fmla="*/ 5207140 h 5355515"/>
              <a:gd name="connsiteX7" fmla="*/ 4722185 w 4722185"/>
              <a:gd name="connsiteY7" fmla="*/ 5207146 h 5355515"/>
              <a:gd name="connsiteX8" fmla="*/ 4722185 w 4722185"/>
              <a:gd name="connsiteY8" fmla="*/ 5227331 h 5355515"/>
              <a:gd name="connsiteX9" fmla="*/ 4718171 w 4722185"/>
              <a:gd name="connsiteY9" fmla="*/ 5227331 h 5355515"/>
              <a:gd name="connsiteX10" fmla="*/ 4710701 w 4722185"/>
              <a:gd name="connsiteY10" fmla="*/ 5264893 h 5355515"/>
              <a:gd name="connsiteX11" fmla="*/ 4576049 w 4722185"/>
              <a:gd name="connsiteY11" fmla="*/ 5355515 h 5355515"/>
              <a:gd name="connsiteX12" fmla="*/ 4463283 w 4722185"/>
              <a:gd name="connsiteY12" fmla="*/ 5301520 h 5355515"/>
              <a:gd name="connsiteX13" fmla="*/ 4458552 w 4722185"/>
              <a:gd name="connsiteY13" fmla="*/ 5293602 h 5355515"/>
              <a:gd name="connsiteX14" fmla="*/ 4410316 w 4722185"/>
              <a:gd name="connsiteY14" fmla="*/ 5233200 h 5355515"/>
              <a:gd name="connsiteX15" fmla="*/ 4408730 w 4722185"/>
              <a:gd name="connsiteY15" fmla="*/ 5233200 h 5355515"/>
              <a:gd name="connsiteX16" fmla="*/ 4266654 w 4722185"/>
              <a:gd name="connsiteY16" fmla="*/ 5083952 h 5355515"/>
              <a:gd name="connsiteX17" fmla="*/ 2965877 w 4722185"/>
              <a:gd name="connsiteY17" fmla="*/ 4717505 h 5355515"/>
              <a:gd name="connsiteX18" fmla="*/ 2707444 w 4722185"/>
              <a:gd name="connsiteY18" fmla="*/ 4746095 h 5355515"/>
              <a:gd name="connsiteX19" fmla="*/ 2707444 w 4722185"/>
              <a:gd name="connsiteY19" fmla="*/ 4744512 h 5355515"/>
              <a:gd name="connsiteX20" fmla="*/ 2542757 w 4722185"/>
              <a:gd name="connsiteY20" fmla="*/ 4763515 h 5355515"/>
              <a:gd name="connsiteX21" fmla="*/ 2361092 w 4722185"/>
              <a:gd name="connsiteY21" fmla="*/ 4770468 h 5355515"/>
              <a:gd name="connsiteX22" fmla="*/ 0 w 4722185"/>
              <a:gd name="connsiteY22" fmla="*/ 2385234 h 5355515"/>
              <a:gd name="connsiteX23" fmla="*/ 2361092 w 4722185"/>
              <a:gd name="connsiteY23" fmla="*/ 0 h 5355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4722185" h="5355515">
                <a:moveTo>
                  <a:pt x="2361092" y="0"/>
                </a:moveTo>
                <a:cubicBezTo>
                  <a:pt x="3583588" y="1"/>
                  <a:pt x="4589082" y="938589"/>
                  <a:pt x="4709994" y="2141359"/>
                </a:cubicBezTo>
                <a:lnTo>
                  <a:pt x="4719312" y="2327793"/>
                </a:lnTo>
                <a:lnTo>
                  <a:pt x="4722184" y="2327793"/>
                </a:lnTo>
                <a:lnTo>
                  <a:pt x="4722183" y="2385235"/>
                </a:lnTo>
                <a:lnTo>
                  <a:pt x="4722184" y="5207131"/>
                </a:lnTo>
                <a:lnTo>
                  <a:pt x="4722185" y="5207140"/>
                </a:lnTo>
                <a:lnTo>
                  <a:pt x="4722185" y="5207146"/>
                </a:lnTo>
                <a:lnTo>
                  <a:pt x="4722185" y="5227331"/>
                </a:lnTo>
                <a:lnTo>
                  <a:pt x="4718171" y="5227331"/>
                </a:lnTo>
                <a:lnTo>
                  <a:pt x="4710701" y="5264893"/>
                </a:lnTo>
                <a:cubicBezTo>
                  <a:pt x="4688517" y="5318149"/>
                  <a:pt x="4636580" y="5355515"/>
                  <a:pt x="4576049" y="5355515"/>
                </a:cubicBezTo>
                <a:cubicBezTo>
                  <a:pt x="4530651" y="5355514"/>
                  <a:pt x="4490087" y="5334495"/>
                  <a:pt x="4463283" y="5301520"/>
                </a:cubicBezTo>
                <a:lnTo>
                  <a:pt x="4458552" y="5293602"/>
                </a:lnTo>
                <a:lnTo>
                  <a:pt x="4410316" y="5233200"/>
                </a:lnTo>
                <a:lnTo>
                  <a:pt x="4408730" y="5233200"/>
                </a:lnTo>
                <a:lnTo>
                  <a:pt x="4266654" y="5083952"/>
                </a:lnTo>
                <a:cubicBezTo>
                  <a:pt x="3976975" y="4839538"/>
                  <a:pt x="3498981" y="4692388"/>
                  <a:pt x="2965877" y="4717505"/>
                </a:cubicBezTo>
                <a:lnTo>
                  <a:pt x="2707444" y="4746095"/>
                </a:lnTo>
                <a:lnTo>
                  <a:pt x="2707444" y="4744512"/>
                </a:lnTo>
                <a:lnTo>
                  <a:pt x="2542757" y="4763515"/>
                </a:lnTo>
                <a:cubicBezTo>
                  <a:pt x="2482799" y="4768122"/>
                  <a:pt x="2422217" y="4770469"/>
                  <a:pt x="2361092" y="4770468"/>
                </a:cubicBezTo>
                <a:cubicBezTo>
                  <a:pt x="1057097" y="4770469"/>
                  <a:pt x="1" y="3702563"/>
                  <a:pt x="0" y="2385234"/>
                </a:cubicBezTo>
                <a:cubicBezTo>
                  <a:pt x="0" y="1067906"/>
                  <a:pt x="1057097" y="1"/>
                  <a:pt x="2361092" y="0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t" anchorCtr="1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br>
              <a:rPr lang="en-GB"/>
            </a:br>
            <a:r>
              <a:rPr lang="en-GB"/>
              <a:t>Click symbol </a:t>
            </a:r>
            <a:br>
              <a:rPr lang="en-GB"/>
            </a:br>
            <a:r>
              <a:rPr lang="en-GB"/>
              <a:t>to insert image</a:t>
            </a:r>
          </a:p>
        </p:txBody>
      </p:sp>
    </p:spTree>
    <p:extLst>
      <p:ext uri="{BB962C8B-B14F-4D97-AF65-F5344CB8AC3E}">
        <p14:creationId xmlns:p14="http://schemas.microsoft.com/office/powerpoint/2010/main" val="364894491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text columns right + custom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5628C04E-8FE6-2249-A0BC-27A94B7E08BF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err="1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47CEC9D-0A3C-D842-9644-6F42F39C7684}"/>
              </a:ext>
            </a:extLst>
          </p:cNvPr>
          <p:cNvSpPr/>
          <p:nvPr userDrawn="1"/>
        </p:nvSpPr>
        <p:spPr>
          <a:xfrm>
            <a:off x="892" y="115888"/>
            <a:ext cx="12191108" cy="619283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2BDE06BA-04E8-B646-878B-BE87CCC2501E}"/>
              </a:ext>
            </a:extLst>
          </p:cNvPr>
          <p:cNvSpPr txBox="1">
            <a:spLocks/>
          </p:cNvSpPr>
          <p:nvPr userDrawn="1"/>
        </p:nvSpPr>
        <p:spPr>
          <a:xfrm>
            <a:off x="11369993" y="6456998"/>
            <a:ext cx="271144" cy="17526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sv-SE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F2B5CF4-79E2-4BCE-8F81-53ED60D4893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949761AE-4302-0F4D-9A3E-12A8E78AB302}"/>
              </a:ext>
            </a:extLst>
          </p:cNvPr>
          <p:cNvCxnSpPr/>
          <p:nvPr userDrawn="1"/>
        </p:nvCxnSpPr>
        <p:spPr>
          <a:xfrm flipH="1">
            <a:off x="11369993" y="6635115"/>
            <a:ext cx="27114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CB4927E7-E09E-D144-A40A-D1DE8844F6DD}"/>
              </a:ext>
            </a:extLst>
          </p:cNvPr>
          <p:cNvCxnSpPr/>
          <p:nvPr userDrawn="1"/>
        </p:nvCxnSpPr>
        <p:spPr>
          <a:xfrm flipH="1">
            <a:off x="11369993" y="6442437"/>
            <a:ext cx="27114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D0928224-334F-1447-9AD3-23E32B9C919B}"/>
              </a:ext>
            </a:extLst>
          </p:cNvPr>
          <p:cNvSpPr txBox="1"/>
          <p:nvPr userDrawn="1"/>
        </p:nvSpPr>
        <p:spPr>
          <a:xfrm flipH="1">
            <a:off x="550863" y="6595778"/>
            <a:ext cx="1652387" cy="1077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400" cap="all" spc="80">
                <a:solidFill>
                  <a:schemeClr val="bg1"/>
                </a:solidFill>
              </a:rPr>
              <a:t>©</a:t>
            </a:r>
            <a:r>
              <a:rPr lang="en-US" sz="400" cap="all" spc="0" baseline="0">
                <a:solidFill>
                  <a:schemeClr val="bg1"/>
                </a:solidFill>
              </a:rPr>
              <a:t> </a:t>
            </a:r>
            <a:r>
              <a:rPr lang="en-US" sz="400" cap="all" spc="80">
                <a:solidFill>
                  <a:schemeClr val="bg1"/>
                </a:solidFill>
              </a:rPr>
              <a:t>Oriflame Cosmetics</a:t>
            </a:r>
            <a:r>
              <a:rPr lang="en-US" sz="400" cap="all" spc="80" baseline="0">
                <a:solidFill>
                  <a:schemeClr val="bg1"/>
                </a:solidFill>
              </a:rPr>
              <a:t> AG,2023</a:t>
            </a:r>
            <a:endParaRPr lang="en-US" sz="1600" cap="all" spc="80">
              <a:solidFill>
                <a:schemeClr val="bg1"/>
              </a:solidFill>
            </a:endParaRP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C7CFA5BA-54A8-B44D-9E1D-E2C8C0B3FC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87908" y="6299505"/>
            <a:ext cx="1422989" cy="491798"/>
          </a:xfrm>
          <a:prstGeom prst="rect">
            <a:avLst/>
          </a:prstGeom>
        </p:spPr>
      </p:pic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14CE8B1-5231-9295-3620-54647D700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6405" y="657225"/>
            <a:ext cx="5964734" cy="33709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1CB5E1D-7E10-7461-D58A-0C2D94401262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676403" y="1076356"/>
            <a:ext cx="5964734" cy="294853"/>
          </a:xfr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65112" indent="0">
              <a:buNone/>
              <a:defRPr/>
            </a:lvl2pPr>
            <a:lvl3pPr marL="501650" indent="0">
              <a:buNone/>
              <a:defRPr/>
            </a:lvl3pPr>
            <a:lvl4pPr marL="698500" indent="0">
              <a:buNone/>
              <a:defRPr/>
            </a:lvl4pPr>
            <a:lvl5pPr marL="944563" indent="0">
              <a:buNone/>
              <a:defRPr/>
            </a:lvl5pPr>
          </a:lstStyle>
          <a:p>
            <a:pPr lvl="0"/>
            <a:r>
              <a:rPr lang="en-GB" noProof="0"/>
              <a:t>Subheading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AB753669-D1C9-0AE9-E0A6-68B14DD7AAF1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5676403" y="1697599"/>
            <a:ext cx="2766779" cy="41052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7B69C077-400B-BF8D-06B5-15C47BDC156E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8874358" y="1697599"/>
            <a:ext cx="2766779" cy="41052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1DFEAEC6-1E8E-61D5-2082-4578A8DB5D8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17481" y="534389"/>
            <a:ext cx="4725814" cy="5359630"/>
          </a:xfrm>
          <a:custGeom>
            <a:avLst/>
            <a:gdLst>
              <a:gd name="connsiteX0" fmla="*/ 2362908 w 4725814"/>
              <a:gd name="connsiteY0" fmla="*/ 0 h 5359630"/>
              <a:gd name="connsiteX1" fmla="*/ 4725814 w 4725814"/>
              <a:gd name="connsiteY1" fmla="*/ 2387066 h 5359630"/>
              <a:gd name="connsiteX2" fmla="*/ 2362908 w 4725814"/>
              <a:gd name="connsiteY2" fmla="*/ 4774134 h 5359630"/>
              <a:gd name="connsiteX3" fmla="*/ 2181104 w 4725814"/>
              <a:gd name="connsiteY3" fmla="*/ 4767175 h 5359630"/>
              <a:gd name="connsiteX4" fmla="*/ 2016289 w 4725814"/>
              <a:gd name="connsiteY4" fmla="*/ 4748158 h 5359630"/>
              <a:gd name="connsiteX5" fmla="*/ 2016290 w 4725814"/>
              <a:gd name="connsiteY5" fmla="*/ 4749741 h 5359630"/>
              <a:gd name="connsiteX6" fmla="*/ 1757658 w 4725814"/>
              <a:gd name="connsiteY6" fmla="*/ 4721130 h 5359630"/>
              <a:gd name="connsiteX7" fmla="*/ 455882 w 4725814"/>
              <a:gd name="connsiteY7" fmla="*/ 5087859 h 5359630"/>
              <a:gd name="connsiteX8" fmla="*/ 313697 w 4725814"/>
              <a:gd name="connsiteY8" fmla="*/ 5237221 h 5359630"/>
              <a:gd name="connsiteX9" fmla="*/ 312109 w 4725814"/>
              <a:gd name="connsiteY9" fmla="*/ 5237221 h 5359630"/>
              <a:gd name="connsiteX10" fmla="*/ 263836 w 4725814"/>
              <a:gd name="connsiteY10" fmla="*/ 5297670 h 5359630"/>
              <a:gd name="connsiteX11" fmla="*/ 259101 w 4725814"/>
              <a:gd name="connsiteY11" fmla="*/ 5305594 h 5359630"/>
              <a:gd name="connsiteX12" fmla="*/ 146249 w 4725814"/>
              <a:gd name="connsiteY12" fmla="*/ 5359630 h 5359630"/>
              <a:gd name="connsiteX13" fmla="*/ 11493 w 4725814"/>
              <a:gd name="connsiteY13" fmla="*/ 5268939 h 5359630"/>
              <a:gd name="connsiteX14" fmla="*/ 4018 w 4725814"/>
              <a:gd name="connsiteY14" fmla="*/ 5231347 h 5359630"/>
              <a:gd name="connsiteX15" fmla="*/ 1 w 4725814"/>
              <a:gd name="connsiteY15" fmla="*/ 5231347 h 5359630"/>
              <a:gd name="connsiteX16" fmla="*/ 1 w 4725814"/>
              <a:gd name="connsiteY16" fmla="*/ 5211147 h 5359630"/>
              <a:gd name="connsiteX17" fmla="*/ 0 w 4725814"/>
              <a:gd name="connsiteY17" fmla="*/ 5211141 h 5359630"/>
              <a:gd name="connsiteX18" fmla="*/ 1 w 4725814"/>
              <a:gd name="connsiteY18" fmla="*/ 5211132 h 5359630"/>
              <a:gd name="connsiteX19" fmla="*/ 2 w 4725814"/>
              <a:gd name="connsiteY19" fmla="*/ 2387068 h 5359630"/>
              <a:gd name="connsiteX20" fmla="*/ 2 w 4725814"/>
              <a:gd name="connsiteY20" fmla="*/ 2329581 h 5359630"/>
              <a:gd name="connsiteX21" fmla="*/ 2876 w 4725814"/>
              <a:gd name="connsiteY21" fmla="*/ 2329581 h 5359630"/>
              <a:gd name="connsiteX22" fmla="*/ 12201 w 4725814"/>
              <a:gd name="connsiteY22" fmla="*/ 2143004 h 5359630"/>
              <a:gd name="connsiteX23" fmla="*/ 2362908 w 4725814"/>
              <a:gd name="connsiteY23" fmla="*/ 0 h 5359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4725814" h="5359630">
                <a:moveTo>
                  <a:pt x="2362908" y="0"/>
                </a:moveTo>
                <a:cubicBezTo>
                  <a:pt x="3667905" y="0"/>
                  <a:pt x="4725815" y="1068726"/>
                  <a:pt x="4725814" y="2387066"/>
                </a:cubicBezTo>
                <a:cubicBezTo>
                  <a:pt x="4725814" y="3705408"/>
                  <a:pt x="3667905" y="4774134"/>
                  <a:pt x="2362908" y="4774134"/>
                </a:cubicBezTo>
                <a:cubicBezTo>
                  <a:pt x="2301736" y="4774135"/>
                  <a:pt x="2241107" y="4771786"/>
                  <a:pt x="2181104" y="4767175"/>
                </a:cubicBezTo>
                <a:lnTo>
                  <a:pt x="2016289" y="4748158"/>
                </a:lnTo>
                <a:lnTo>
                  <a:pt x="2016290" y="4749741"/>
                </a:lnTo>
                <a:lnTo>
                  <a:pt x="1757658" y="4721130"/>
                </a:lnTo>
                <a:cubicBezTo>
                  <a:pt x="1224144" y="4695993"/>
                  <a:pt x="745783" y="4843257"/>
                  <a:pt x="455882" y="5087859"/>
                </a:cubicBezTo>
                <a:lnTo>
                  <a:pt x="313697" y="5237221"/>
                </a:lnTo>
                <a:lnTo>
                  <a:pt x="312109" y="5237221"/>
                </a:lnTo>
                <a:lnTo>
                  <a:pt x="263836" y="5297670"/>
                </a:lnTo>
                <a:lnTo>
                  <a:pt x="259101" y="5305594"/>
                </a:lnTo>
                <a:cubicBezTo>
                  <a:pt x="232277" y="5338594"/>
                  <a:pt x="191682" y="5359629"/>
                  <a:pt x="146249" y="5359630"/>
                </a:cubicBezTo>
                <a:cubicBezTo>
                  <a:pt x="85671" y="5359630"/>
                  <a:pt x="33694" y="5322235"/>
                  <a:pt x="11493" y="5268939"/>
                </a:cubicBezTo>
                <a:lnTo>
                  <a:pt x="4018" y="5231347"/>
                </a:lnTo>
                <a:lnTo>
                  <a:pt x="1" y="5231347"/>
                </a:lnTo>
                <a:lnTo>
                  <a:pt x="1" y="5211147"/>
                </a:lnTo>
                <a:lnTo>
                  <a:pt x="0" y="5211141"/>
                </a:lnTo>
                <a:lnTo>
                  <a:pt x="1" y="5211132"/>
                </a:lnTo>
                <a:lnTo>
                  <a:pt x="2" y="2387068"/>
                </a:lnTo>
                <a:lnTo>
                  <a:pt x="2" y="2329581"/>
                </a:lnTo>
                <a:lnTo>
                  <a:pt x="2876" y="2329581"/>
                </a:lnTo>
                <a:lnTo>
                  <a:pt x="12201" y="2143004"/>
                </a:lnTo>
                <a:cubicBezTo>
                  <a:pt x="133206" y="939311"/>
                  <a:pt x="1139473" y="1"/>
                  <a:pt x="2362908" y="0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br>
              <a:rPr lang="en-GB"/>
            </a:br>
            <a:r>
              <a:rPr lang="en-GB"/>
              <a:t>Click symbol </a:t>
            </a:r>
            <a:br>
              <a:rPr lang="en-GB"/>
            </a:br>
            <a:r>
              <a:rPr lang="en-GB"/>
              <a:t>to insert image</a:t>
            </a:r>
          </a:p>
        </p:txBody>
      </p:sp>
    </p:spTree>
    <p:extLst>
      <p:ext uri="{BB962C8B-B14F-4D97-AF65-F5344CB8AC3E}">
        <p14:creationId xmlns:p14="http://schemas.microsoft.com/office/powerpoint/2010/main" val="3663818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11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ne text column left + text in bub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9B55996B-0825-9143-84C7-966E866E4891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err="1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E57B4A7E-F262-C84B-9C2F-85B8C12B480B}"/>
              </a:ext>
            </a:extLst>
          </p:cNvPr>
          <p:cNvSpPr/>
          <p:nvPr userDrawn="1"/>
        </p:nvSpPr>
        <p:spPr>
          <a:xfrm>
            <a:off x="892" y="115888"/>
            <a:ext cx="12191108" cy="619283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4AC0C3CE-A590-C85B-93EC-97272BB10760}"/>
              </a:ext>
            </a:extLst>
          </p:cNvPr>
          <p:cNvSpPr/>
          <p:nvPr userDrawn="1"/>
        </p:nvSpPr>
        <p:spPr>
          <a:xfrm rot="18516616">
            <a:off x="5915560" y="1054817"/>
            <a:ext cx="6164669" cy="4783072"/>
          </a:xfrm>
          <a:custGeom>
            <a:avLst/>
            <a:gdLst>
              <a:gd name="connsiteX0" fmla="*/ 3889232 w 4244988"/>
              <a:gd name="connsiteY0" fmla="*/ 612826 h 3293622"/>
              <a:gd name="connsiteX1" fmla="*/ 3617977 w 4244988"/>
              <a:gd name="connsiteY1" fmla="*/ 2928481 h 3293622"/>
              <a:gd name="connsiteX2" fmla="*/ 1299683 w 4244988"/>
              <a:gd name="connsiteY2" fmla="*/ 2680796 h 3293622"/>
              <a:gd name="connsiteX3" fmla="*/ 1224707 w 4244988"/>
              <a:gd name="connsiteY3" fmla="*/ 2579169 h 3293622"/>
              <a:gd name="connsiteX4" fmla="*/ 1163631 w 4244988"/>
              <a:gd name="connsiteY4" fmla="*/ 2481534 h 3293622"/>
              <a:gd name="connsiteX5" fmla="*/ 1162772 w 4244988"/>
              <a:gd name="connsiteY5" fmla="*/ 2482220 h 3293622"/>
              <a:gd name="connsiteX6" fmla="*/ 1066262 w 4244988"/>
              <a:gd name="connsiteY6" fmla="*/ 2329542 h 3293622"/>
              <a:gd name="connsiteX7" fmla="*/ 303465 w 4244988"/>
              <a:gd name="connsiteY7" fmla="*/ 1782295 h 3293622"/>
              <a:gd name="connsiteX8" fmla="*/ 160860 w 4244988"/>
              <a:gd name="connsiteY8" fmla="*/ 1769870 h 3293622"/>
              <a:gd name="connsiteX9" fmla="*/ 160172 w 4244988"/>
              <a:gd name="connsiteY9" fmla="*/ 1769009 h 3293622"/>
              <a:gd name="connsiteX10" fmla="*/ 106474 w 4244988"/>
              <a:gd name="connsiteY10" fmla="*/ 1769009 h 3293622"/>
              <a:gd name="connsiteX11" fmla="*/ 100125 w 4244988"/>
              <a:gd name="connsiteY11" fmla="*/ 1769873 h 3293622"/>
              <a:gd name="connsiteX12" fmla="*/ 21932 w 4244988"/>
              <a:gd name="connsiteY12" fmla="*/ 1732067 h 3293622"/>
              <a:gd name="connsiteX13" fmla="*/ 12753 w 4244988"/>
              <a:gd name="connsiteY13" fmla="*/ 1619690 h 3293622"/>
              <a:gd name="connsiteX14" fmla="*/ 29905 w 4244988"/>
              <a:gd name="connsiteY14" fmla="*/ 1599352 h 3293622"/>
              <a:gd name="connsiteX15" fmla="*/ 28165 w 4244988"/>
              <a:gd name="connsiteY15" fmla="*/ 1597173 h 3293622"/>
              <a:gd name="connsiteX16" fmla="*/ 39122 w 4244988"/>
              <a:gd name="connsiteY16" fmla="*/ 1588423 h 3293622"/>
              <a:gd name="connsiteX17" fmla="*/ 39125 w 4244988"/>
              <a:gd name="connsiteY17" fmla="*/ 1588420 h 3293622"/>
              <a:gd name="connsiteX18" fmla="*/ 39130 w 4244988"/>
              <a:gd name="connsiteY18" fmla="*/ 1588417 h 3293622"/>
              <a:gd name="connsiteX19" fmla="*/ 1570938 w 4244988"/>
              <a:gd name="connsiteY19" fmla="*/ 365142 h 3293622"/>
              <a:gd name="connsiteX20" fmla="*/ 1602119 w 4244988"/>
              <a:gd name="connsiteY20" fmla="*/ 340241 h 3293622"/>
              <a:gd name="connsiteX21" fmla="*/ 1603364 w 4244988"/>
              <a:gd name="connsiteY21" fmla="*/ 341800 h 3293622"/>
              <a:gd name="connsiteX22" fmla="*/ 1708605 w 4244988"/>
              <a:gd name="connsiteY22" fmla="*/ 266040 h 3293622"/>
              <a:gd name="connsiteX23" fmla="*/ 3889232 w 4244988"/>
              <a:gd name="connsiteY23" fmla="*/ 612826 h 32936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4244988" h="3293622">
                <a:moveTo>
                  <a:pt x="3889232" y="612826"/>
                </a:moveTo>
                <a:cubicBezTo>
                  <a:pt x="4454506" y="1320673"/>
                  <a:pt x="4333061" y="2357427"/>
                  <a:pt x="3617977" y="2928481"/>
                </a:cubicBezTo>
                <a:cubicBezTo>
                  <a:pt x="2902892" y="3499535"/>
                  <a:pt x="1864957" y="3388643"/>
                  <a:pt x="1299683" y="2680796"/>
                </a:cubicBezTo>
                <a:cubicBezTo>
                  <a:pt x="1273185" y="2647616"/>
                  <a:pt x="1248197" y="2613713"/>
                  <a:pt x="1224707" y="2579169"/>
                </a:cubicBezTo>
                <a:lnTo>
                  <a:pt x="1163631" y="2481534"/>
                </a:lnTo>
                <a:lnTo>
                  <a:pt x="1162772" y="2482220"/>
                </a:lnTo>
                <a:lnTo>
                  <a:pt x="1066262" y="2329542"/>
                </a:lnTo>
                <a:cubicBezTo>
                  <a:pt x="848799" y="2029269"/>
                  <a:pt x="561714" y="1833589"/>
                  <a:pt x="303465" y="1782295"/>
                </a:cubicBezTo>
                <a:lnTo>
                  <a:pt x="160860" y="1769870"/>
                </a:lnTo>
                <a:lnTo>
                  <a:pt x="160172" y="1769009"/>
                </a:lnTo>
                <a:lnTo>
                  <a:pt x="106474" y="1769009"/>
                </a:lnTo>
                <a:lnTo>
                  <a:pt x="100125" y="1769873"/>
                </a:lnTo>
                <a:cubicBezTo>
                  <a:pt x="70606" y="1769618"/>
                  <a:pt x="41612" y="1756710"/>
                  <a:pt x="21932" y="1732067"/>
                </a:cubicBezTo>
                <a:cubicBezTo>
                  <a:pt x="-4308" y="1699209"/>
                  <a:pt x="-6539" y="1654818"/>
                  <a:pt x="12753" y="1619690"/>
                </a:cubicBezTo>
                <a:lnTo>
                  <a:pt x="29905" y="1599352"/>
                </a:lnTo>
                <a:lnTo>
                  <a:pt x="28165" y="1597173"/>
                </a:lnTo>
                <a:lnTo>
                  <a:pt x="39122" y="1588423"/>
                </a:lnTo>
                <a:lnTo>
                  <a:pt x="39125" y="1588420"/>
                </a:lnTo>
                <a:lnTo>
                  <a:pt x="39130" y="1588417"/>
                </a:lnTo>
                <a:lnTo>
                  <a:pt x="1570938" y="365142"/>
                </a:lnTo>
                <a:lnTo>
                  <a:pt x="1602119" y="340241"/>
                </a:lnTo>
                <a:lnTo>
                  <a:pt x="1603364" y="341800"/>
                </a:lnTo>
                <a:lnTo>
                  <a:pt x="1708605" y="266040"/>
                </a:lnTo>
                <a:cubicBezTo>
                  <a:pt x="2413918" y="-189719"/>
                  <a:pt x="3359287" y="-50780"/>
                  <a:pt x="3889232" y="612826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err="1"/>
          </a:p>
        </p:txBody>
      </p:sp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7A42DA1C-A735-C245-B501-BBA152ED7841}"/>
              </a:ext>
            </a:extLst>
          </p:cNvPr>
          <p:cNvSpPr txBox="1">
            <a:spLocks/>
          </p:cNvSpPr>
          <p:nvPr userDrawn="1"/>
        </p:nvSpPr>
        <p:spPr>
          <a:xfrm>
            <a:off x="11369993" y="6456998"/>
            <a:ext cx="271144" cy="17526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sv-SE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F2B5CF4-79E2-4BCE-8F81-53ED60D4893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E631951E-A200-BD4A-83B4-B8E36C5AF4C1}"/>
              </a:ext>
            </a:extLst>
          </p:cNvPr>
          <p:cNvCxnSpPr/>
          <p:nvPr userDrawn="1"/>
        </p:nvCxnSpPr>
        <p:spPr>
          <a:xfrm flipH="1">
            <a:off x="11369993" y="6635115"/>
            <a:ext cx="27114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E1A17488-8DA2-1344-8EA0-8CECAA200682}"/>
              </a:ext>
            </a:extLst>
          </p:cNvPr>
          <p:cNvCxnSpPr/>
          <p:nvPr userDrawn="1"/>
        </p:nvCxnSpPr>
        <p:spPr>
          <a:xfrm flipH="1">
            <a:off x="11369993" y="6442437"/>
            <a:ext cx="27114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6A1F3670-37EB-864D-8C83-5019CFA92C99}"/>
              </a:ext>
            </a:extLst>
          </p:cNvPr>
          <p:cNvSpPr txBox="1"/>
          <p:nvPr userDrawn="1"/>
        </p:nvSpPr>
        <p:spPr>
          <a:xfrm flipH="1">
            <a:off x="550863" y="6595778"/>
            <a:ext cx="1652387" cy="1077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400" cap="all" spc="80">
                <a:solidFill>
                  <a:schemeClr val="bg1"/>
                </a:solidFill>
              </a:rPr>
              <a:t>©</a:t>
            </a:r>
            <a:r>
              <a:rPr lang="en-US" sz="400" cap="all" spc="0" baseline="0">
                <a:solidFill>
                  <a:schemeClr val="bg1"/>
                </a:solidFill>
              </a:rPr>
              <a:t> </a:t>
            </a:r>
            <a:r>
              <a:rPr lang="en-US" sz="400" cap="all" spc="80">
                <a:solidFill>
                  <a:schemeClr val="bg1"/>
                </a:solidFill>
              </a:rPr>
              <a:t>Oriflame Cosmetics</a:t>
            </a:r>
            <a:r>
              <a:rPr lang="en-US" sz="400" cap="all" spc="80" baseline="0">
                <a:solidFill>
                  <a:schemeClr val="bg1"/>
                </a:solidFill>
              </a:rPr>
              <a:t> AG,2023</a:t>
            </a:r>
            <a:endParaRPr lang="en-US" sz="1600" cap="all" spc="80">
              <a:solidFill>
                <a:schemeClr val="bg1"/>
              </a:solidFill>
            </a:endParaRPr>
          </a:p>
        </p:txBody>
      </p: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16D43B89-4143-644A-B07C-F79714CD1C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4" y="657225"/>
            <a:ext cx="5983542" cy="33709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5219687F-BDF8-1D4C-A6DB-A853725BDA9B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550864" y="1076357"/>
            <a:ext cx="5983541" cy="192056"/>
          </a:xfr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65112" indent="0">
              <a:buNone/>
              <a:defRPr/>
            </a:lvl2pPr>
            <a:lvl3pPr marL="501650" indent="0">
              <a:buNone/>
              <a:defRPr/>
            </a:lvl3pPr>
            <a:lvl4pPr marL="698500" indent="0">
              <a:buNone/>
              <a:defRPr/>
            </a:lvl4pPr>
            <a:lvl5pPr marL="944563" indent="0">
              <a:buNone/>
              <a:defRPr/>
            </a:lvl5pPr>
          </a:lstStyle>
          <a:p>
            <a:pPr lvl="0"/>
            <a:r>
              <a:rPr lang="en-GB" noProof="0"/>
              <a:t>Subheading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2FBC2A8F-A2CB-C948-BF90-9E544983BC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884577" y="1459831"/>
            <a:ext cx="2984068" cy="1919331"/>
          </a:xfrm>
        </p:spPr>
        <p:txBody>
          <a:bodyPr anchor="b"/>
          <a:lstStyle>
            <a:lvl1pPr marL="0" indent="0" algn="ctr">
              <a:spcBef>
                <a:spcPts val="400"/>
              </a:spcBef>
              <a:buNone/>
              <a:defRPr sz="4000" b="1">
                <a:solidFill>
                  <a:schemeClr val="bg1"/>
                </a:solidFill>
              </a:defRPr>
            </a:lvl1pPr>
            <a:lvl2pPr marL="265113" indent="0">
              <a:buNone/>
              <a:defRPr>
                <a:solidFill>
                  <a:schemeClr val="bg2"/>
                </a:solidFill>
              </a:defRPr>
            </a:lvl2pPr>
            <a:lvl3pPr marL="446088" indent="0">
              <a:buNone/>
              <a:defRPr>
                <a:solidFill>
                  <a:schemeClr val="bg2"/>
                </a:solidFill>
              </a:defRPr>
            </a:lvl3pPr>
            <a:lvl4pPr marL="627063" indent="0">
              <a:buNone/>
              <a:defRPr>
                <a:solidFill>
                  <a:schemeClr val="bg2"/>
                </a:solidFill>
              </a:defRPr>
            </a:lvl4pPr>
            <a:lvl5pPr marL="808038" indent="0">
              <a:buNone/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125759E8-BBCB-854B-A75B-1FC1D92886D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884577" y="3477975"/>
            <a:ext cx="2978150" cy="1013814"/>
          </a:xfrm>
        </p:spPr>
        <p:txBody>
          <a:bodyPr anchor="t"/>
          <a:lstStyle>
            <a:lvl1pPr marL="0" indent="0" algn="ctr">
              <a:lnSpc>
                <a:spcPct val="95000"/>
              </a:lnSpc>
              <a:buNone/>
              <a:defRPr sz="1600" b="0">
                <a:solidFill>
                  <a:schemeClr val="bg1"/>
                </a:solidFill>
              </a:defRPr>
            </a:lvl1pPr>
            <a:lvl2pPr marL="265113" indent="0">
              <a:buNone/>
              <a:defRPr>
                <a:solidFill>
                  <a:schemeClr val="bg2"/>
                </a:solidFill>
              </a:defRPr>
            </a:lvl2pPr>
            <a:lvl3pPr marL="446088" indent="0">
              <a:buNone/>
              <a:defRPr>
                <a:solidFill>
                  <a:schemeClr val="bg2"/>
                </a:solidFill>
              </a:defRPr>
            </a:lvl3pPr>
            <a:lvl4pPr marL="627063" indent="0">
              <a:buNone/>
              <a:defRPr>
                <a:solidFill>
                  <a:schemeClr val="bg2"/>
                </a:solidFill>
              </a:defRPr>
            </a:lvl4pPr>
            <a:lvl5pPr marL="808038" indent="0">
              <a:buNone/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C9BB8E77-45B5-FB44-8998-381AE855FB1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0864" y="1703688"/>
            <a:ext cx="6010358" cy="409918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1C4190B2-0824-A44F-9B67-7B1D33CA7DB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87908" y="6299505"/>
            <a:ext cx="1422989" cy="491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96753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11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ne text column right + text in bub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9B55996B-0825-9143-84C7-966E866E4891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err="1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E57B4A7E-F262-C84B-9C2F-85B8C12B480B}"/>
              </a:ext>
            </a:extLst>
          </p:cNvPr>
          <p:cNvSpPr/>
          <p:nvPr userDrawn="1"/>
        </p:nvSpPr>
        <p:spPr>
          <a:xfrm>
            <a:off x="892" y="115888"/>
            <a:ext cx="12191108" cy="619283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Freeform 6">
            <a:extLst>
              <a:ext uri="{FF2B5EF4-FFF2-40B4-BE49-F238E27FC236}">
                <a16:creationId xmlns:a16="http://schemas.microsoft.com/office/drawing/2014/main" id="{0DB55E00-2049-9298-AD62-10F9B2330E0F}"/>
              </a:ext>
            </a:extLst>
          </p:cNvPr>
          <p:cNvSpPr/>
          <p:nvPr userDrawn="1"/>
        </p:nvSpPr>
        <p:spPr>
          <a:xfrm rot="3083384" flipH="1">
            <a:off x="74624" y="1054817"/>
            <a:ext cx="6164669" cy="4783072"/>
          </a:xfrm>
          <a:custGeom>
            <a:avLst/>
            <a:gdLst>
              <a:gd name="connsiteX0" fmla="*/ 3889232 w 4244988"/>
              <a:gd name="connsiteY0" fmla="*/ 612826 h 3293622"/>
              <a:gd name="connsiteX1" fmla="*/ 3617977 w 4244988"/>
              <a:gd name="connsiteY1" fmla="*/ 2928481 h 3293622"/>
              <a:gd name="connsiteX2" fmla="*/ 1299683 w 4244988"/>
              <a:gd name="connsiteY2" fmla="*/ 2680796 h 3293622"/>
              <a:gd name="connsiteX3" fmla="*/ 1224707 w 4244988"/>
              <a:gd name="connsiteY3" fmla="*/ 2579169 h 3293622"/>
              <a:gd name="connsiteX4" fmla="*/ 1163631 w 4244988"/>
              <a:gd name="connsiteY4" fmla="*/ 2481534 h 3293622"/>
              <a:gd name="connsiteX5" fmla="*/ 1162772 w 4244988"/>
              <a:gd name="connsiteY5" fmla="*/ 2482220 h 3293622"/>
              <a:gd name="connsiteX6" fmla="*/ 1066262 w 4244988"/>
              <a:gd name="connsiteY6" fmla="*/ 2329542 h 3293622"/>
              <a:gd name="connsiteX7" fmla="*/ 303465 w 4244988"/>
              <a:gd name="connsiteY7" fmla="*/ 1782295 h 3293622"/>
              <a:gd name="connsiteX8" fmla="*/ 160860 w 4244988"/>
              <a:gd name="connsiteY8" fmla="*/ 1769870 h 3293622"/>
              <a:gd name="connsiteX9" fmla="*/ 160172 w 4244988"/>
              <a:gd name="connsiteY9" fmla="*/ 1769009 h 3293622"/>
              <a:gd name="connsiteX10" fmla="*/ 106474 w 4244988"/>
              <a:gd name="connsiteY10" fmla="*/ 1769009 h 3293622"/>
              <a:gd name="connsiteX11" fmla="*/ 100125 w 4244988"/>
              <a:gd name="connsiteY11" fmla="*/ 1769873 h 3293622"/>
              <a:gd name="connsiteX12" fmla="*/ 21932 w 4244988"/>
              <a:gd name="connsiteY12" fmla="*/ 1732067 h 3293622"/>
              <a:gd name="connsiteX13" fmla="*/ 12753 w 4244988"/>
              <a:gd name="connsiteY13" fmla="*/ 1619690 h 3293622"/>
              <a:gd name="connsiteX14" fmla="*/ 29905 w 4244988"/>
              <a:gd name="connsiteY14" fmla="*/ 1599352 h 3293622"/>
              <a:gd name="connsiteX15" fmla="*/ 28165 w 4244988"/>
              <a:gd name="connsiteY15" fmla="*/ 1597173 h 3293622"/>
              <a:gd name="connsiteX16" fmla="*/ 39122 w 4244988"/>
              <a:gd name="connsiteY16" fmla="*/ 1588423 h 3293622"/>
              <a:gd name="connsiteX17" fmla="*/ 39125 w 4244988"/>
              <a:gd name="connsiteY17" fmla="*/ 1588420 h 3293622"/>
              <a:gd name="connsiteX18" fmla="*/ 39130 w 4244988"/>
              <a:gd name="connsiteY18" fmla="*/ 1588417 h 3293622"/>
              <a:gd name="connsiteX19" fmla="*/ 1570938 w 4244988"/>
              <a:gd name="connsiteY19" fmla="*/ 365142 h 3293622"/>
              <a:gd name="connsiteX20" fmla="*/ 1602119 w 4244988"/>
              <a:gd name="connsiteY20" fmla="*/ 340241 h 3293622"/>
              <a:gd name="connsiteX21" fmla="*/ 1603364 w 4244988"/>
              <a:gd name="connsiteY21" fmla="*/ 341800 h 3293622"/>
              <a:gd name="connsiteX22" fmla="*/ 1708605 w 4244988"/>
              <a:gd name="connsiteY22" fmla="*/ 266040 h 3293622"/>
              <a:gd name="connsiteX23" fmla="*/ 3889232 w 4244988"/>
              <a:gd name="connsiteY23" fmla="*/ 612826 h 32936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4244988" h="3293622">
                <a:moveTo>
                  <a:pt x="3889232" y="612826"/>
                </a:moveTo>
                <a:cubicBezTo>
                  <a:pt x="4454506" y="1320673"/>
                  <a:pt x="4333061" y="2357427"/>
                  <a:pt x="3617977" y="2928481"/>
                </a:cubicBezTo>
                <a:cubicBezTo>
                  <a:pt x="2902892" y="3499535"/>
                  <a:pt x="1864957" y="3388643"/>
                  <a:pt x="1299683" y="2680796"/>
                </a:cubicBezTo>
                <a:cubicBezTo>
                  <a:pt x="1273185" y="2647616"/>
                  <a:pt x="1248197" y="2613713"/>
                  <a:pt x="1224707" y="2579169"/>
                </a:cubicBezTo>
                <a:lnTo>
                  <a:pt x="1163631" y="2481534"/>
                </a:lnTo>
                <a:lnTo>
                  <a:pt x="1162772" y="2482220"/>
                </a:lnTo>
                <a:lnTo>
                  <a:pt x="1066262" y="2329542"/>
                </a:lnTo>
                <a:cubicBezTo>
                  <a:pt x="848799" y="2029269"/>
                  <a:pt x="561714" y="1833589"/>
                  <a:pt x="303465" y="1782295"/>
                </a:cubicBezTo>
                <a:lnTo>
                  <a:pt x="160860" y="1769870"/>
                </a:lnTo>
                <a:lnTo>
                  <a:pt x="160172" y="1769009"/>
                </a:lnTo>
                <a:lnTo>
                  <a:pt x="106474" y="1769009"/>
                </a:lnTo>
                <a:lnTo>
                  <a:pt x="100125" y="1769873"/>
                </a:lnTo>
                <a:cubicBezTo>
                  <a:pt x="70606" y="1769618"/>
                  <a:pt x="41612" y="1756710"/>
                  <a:pt x="21932" y="1732067"/>
                </a:cubicBezTo>
                <a:cubicBezTo>
                  <a:pt x="-4308" y="1699209"/>
                  <a:pt x="-6539" y="1654818"/>
                  <a:pt x="12753" y="1619690"/>
                </a:cubicBezTo>
                <a:lnTo>
                  <a:pt x="29905" y="1599352"/>
                </a:lnTo>
                <a:lnTo>
                  <a:pt x="28165" y="1597173"/>
                </a:lnTo>
                <a:lnTo>
                  <a:pt x="39122" y="1588423"/>
                </a:lnTo>
                <a:lnTo>
                  <a:pt x="39125" y="1588420"/>
                </a:lnTo>
                <a:lnTo>
                  <a:pt x="39130" y="1588417"/>
                </a:lnTo>
                <a:lnTo>
                  <a:pt x="1570938" y="365142"/>
                </a:lnTo>
                <a:lnTo>
                  <a:pt x="1602119" y="340241"/>
                </a:lnTo>
                <a:lnTo>
                  <a:pt x="1603364" y="341800"/>
                </a:lnTo>
                <a:lnTo>
                  <a:pt x="1708605" y="266040"/>
                </a:lnTo>
                <a:cubicBezTo>
                  <a:pt x="2413918" y="-189719"/>
                  <a:pt x="3359287" y="-50780"/>
                  <a:pt x="3889232" y="612826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err="1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AC8F63BE-631F-D272-14C6-4E95F69AF74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259188" y="1459831"/>
            <a:ext cx="2984068" cy="1919331"/>
          </a:xfrm>
        </p:spPr>
        <p:txBody>
          <a:bodyPr anchor="b"/>
          <a:lstStyle>
            <a:lvl1pPr marL="0" indent="0" algn="ctr">
              <a:spcBef>
                <a:spcPts val="400"/>
              </a:spcBef>
              <a:buNone/>
              <a:defRPr sz="4000" b="1">
                <a:solidFill>
                  <a:schemeClr val="bg1"/>
                </a:solidFill>
              </a:defRPr>
            </a:lvl1pPr>
            <a:lvl2pPr marL="265113" indent="0">
              <a:buNone/>
              <a:defRPr>
                <a:solidFill>
                  <a:schemeClr val="bg2"/>
                </a:solidFill>
              </a:defRPr>
            </a:lvl2pPr>
            <a:lvl3pPr marL="446088" indent="0">
              <a:buNone/>
              <a:defRPr>
                <a:solidFill>
                  <a:schemeClr val="bg2"/>
                </a:solidFill>
              </a:defRPr>
            </a:lvl3pPr>
            <a:lvl4pPr marL="627063" indent="0">
              <a:buNone/>
              <a:defRPr>
                <a:solidFill>
                  <a:schemeClr val="bg2"/>
                </a:solidFill>
              </a:defRPr>
            </a:lvl4pPr>
            <a:lvl5pPr marL="808038" indent="0">
              <a:buNone/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159A05AB-7B2E-A169-91D2-E3A058702AA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259188" y="3477975"/>
            <a:ext cx="2978150" cy="1013814"/>
          </a:xfrm>
        </p:spPr>
        <p:txBody>
          <a:bodyPr anchor="t"/>
          <a:lstStyle>
            <a:lvl1pPr marL="0" indent="0" algn="ctr">
              <a:lnSpc>
                <a:spcPct val="95000"/>
              </a:lnSpc>
              <a:buNone/>
              <a:defRPr sz="1600" b="0">
                <a:solidFill>
                  <a:schemeClr val="bg1"/>
                </a:solidFill>
              </a:defRPr>
            </a:lvl1pPr>
            <a:lvl2pPr marL="265113" indent="0">
              <a:buNone/>
              <a:defRPr>
                <a:solidFill>
                  <a:schemeClr val="bg2"/>
                </a:solidFill>
              </a:defRPr>
            </a:lvl2pPr>
            <a:lvl3pPr marL="446088" indent="0">
              <a:buNone/>
              <a:defRPr>
                <a:solidFill>
                  <a:schemeClr val="bg2"/>
                </a:solidFill>
              </a:defRPr>
            </a:lvl3pPr>
            <a:lvl4pPr marL="627063" indent="0">
              <a:buNone/>
              <a:defRPr>
                <a:solidFill>
                  <a:schemeClr val="bg2"/>
                </a:solidFill>
              </a:defRPr>
            </a:lvl4pPr>
            <a:lvl5pPr marL="808038" indent="0">
              <a:buNone/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7A42DA1C-A735-C245-B501-BBA152ED7841}"/>
              </a:ext>
            </a:extLst>
          </p:cNvPr>
          <p:cNvSpPr txBox="1">
            <a:spLocks/>
          </p:cNvSpPr>
          <p:nvPr userDrawn="1"/>
        </p:nvSpPr>
        <p:spPr>
          <a:xfrm>
            <a:off x="11369993" y="6456998"/>
            <a:ext cx="271144" cy="17526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sv-SE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F2B5CF4-79E2-4BCE-8F81-53ED60D4893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E631951E-A200-BD4A-83B4-B8E36C5AF4C1}"/>
              </a:ext>
            </a:extLst>
          </p:cNvPr>
          <p:cNvCxnSpPr/>
          <p:nvPr userDrawn="1"/>
        </p:nvCxnSpPr>
        <p:spPr>
          <a:xfrm flipH="1">
            <a:off x="11369993" y="6635115"/>
            <a:ext cx="27114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E1A17488-8DA2-1344-8EA0-8CECAA200682}"/>
              </a:ext>
            </a:extLst>
          </p:cNvPr>
          <p:cNvCxnSpPr/>
          <p:nvPr userDrawn="1"/>
        </p:nvCxnSpPr>
        <p:spPr>
          <a:xfrm flipH="1">
            <a:off x="11369993" y="6442437"/>
            <a:ext cx="27114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6A1F3670-37EB-864D-8C83-5019CFA92C99}"/>
              </a:ext>
            </a:extLst>
          </p:cNvPr>
          <p:cNvSpPr txBox="1"/>
          <p:nvPr userDrawn="1"/>
        </p:nvSpPr>
        <p:spPr>
          <a:xfrm flipH="1">
            <a:off x="550863" y="6595778"/>
            <a:ext cx="1652387" cy="1077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400" cap="all" spc="80">
                <a:solidFill>
                  <a:schemeClr val="bg1"/>
                </a:solidFill>
              </a:rPr>
              <a:t>©</a:t>
            </a:r>
            <a:r>
              <a:rPr lang="en-US" sz="400" cap="all" spc="0" baseline="0">
                <a:solidFill>
                  <a:schemeClr val="bg1"/>
                </a:solidFill>
              </a:rPr>
              <a:t> </a:t>
            </a:r>
            <a:r>
              <a:rPr lang="en-US" sz="400" cap="all" spc="80">
                <a:solidFill>
                  <a:schemeClr val="bg1"/>
                </a:solidFill>
              </a:rPr>
              <a:t>Oriflame Cosmetics</a:t>
            </a:r>
            <a:r>
              <a:rPr lang="en-US" sz="400" cap="all" spc="80" baseline="0">
                <a:solidFill>
                  <a:schemeClr val="bg1"/>
                </a:solidFill>
              </a:rPr>
              <a:t> AG,2023</a:t>
            </a:r>
            <a:endParaRPr lang="en-US" sz="1600" cap="all" spc="80">
              <a:solidFill>
                <a:schemeClr val="bg1"/>
              </a:solidFill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1E40BAAC-A16B-1F45-885D-DE0547BB94F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87908" y="6299505"/>
            <a:ext cx="1422989" cy="491798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DA54C1-0E34-8D41-8635-9CEE16E9AE2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664530" y="1697598"/>
            <a:ext cx="5959686" cy="41052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DF27C91C-93DF-99FC-57E1-58FD5C52A9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64530" y="657225"/>
            <a:ext cx="5959686" cy="33709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33E107F-7248-AC6B-F4CF-AF75CC857EC3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664530" y="1076357"/>
            <a:ext cx="5959686" cy="294851"/>
          </a:xfr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65112" indent="0">
              <a:buNone/>
              <a:defRPr/>
            </a:lvl2pPr>
            <a:lvl3pPr marL="501650" indent="0">
              <a:buNone/>
              <a:defRPr/>
            </a:lvl3pPr>
            <a:lvl4pPr marL="698500" indent="0">
              <a:buNone/>
              <a:defRPr/>
            </a:lvl4pPr>
            <a:lvl5pPr marL="944563" indent="0">
              <a:buNone/>
              <a:defRPr/>
            </a:lvl5pPr>
          </a:lstStyle>
          <a:p>
            <a:pPr lvl="0"/>
            <a:r>
              <a:rPr lang="en-GB" noProof="0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22826884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11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text columns left + text in bub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9B55996B-0825-9143-84C7-966E866E4891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err="1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E57B4A7E-F262-C84B-9C2F-85B8C12B480B}"/>
              </a:ext>
            </a:extLst>
          </p:cNvPr>
          <p:cNvSpPr/>
          <p:nvPr userDrawn="1"/>
        </p:nvSpPr>
        <p:spPr>
          <a:xfrm>
            <a:off x="892" y="115888"/>
            <a:ext cx="12191108" cy="619283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7A42DA1C-A735-C245-B501-BBA152ED7841}"/>
              </a:ext>
            </a:extLst>
          </p:cNvPr>
          <p:cNvSpPr txBox="1">
            <a:spLocks/>
          </p:cNvSpPr>
          <p:nvPr userDrawn="1"/>
        </p:nvSpPr>
        <p:spPr>
          <a:xfrm>
            <a:off x="11369993" y="6456998"/>
            <a:ext cx="271144" cy="17526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sv-SE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F2B5CF4-79E2-4BCE-8F81-53ED60D4893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E631951E-A200-BD4A-83B4-B8E36C5AF4C1}"/>
              </a:ext>
            </a:extLst>
          </p:cNvPr>
          <p:cNvCxnSpPr/>
          <p:nvPr userDrawn="1"/>
        </p:nvCxnSpPr>
        <p:spPr>
          <a:xfrm flipH="1">
            <a:off x="11369993" y="6635115"/>
            <a:ext cx="27114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E1A17488-8DA2-1344-8EA0-8CECAA200682}"/>
              </a:ext>
            </a:extLst>
          </p:cNvPr>
          <p:cNvCxnSpPr/>
          <p:nvPr userDrawn="1"/>
        </p:nvCxnSpPr>
        <p:spPr>
          <a:xfrm flipH="1">
            <a:off x="11369993" y="6442437"/>
            <a:ext cx="27114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6A1F3670-37EB-864D-8C83-5019CFA92C99}"/>
              </a:ext>
            </a:extLst>
          </p:cNvPr>
          <p:cNvSpPr txBox="1"/>
          <p:nvPr userDrawn="1"/>
        </p:nvSpPr>
        <p:spPr>
          <a:xfrm flipH="1">
            <a:off x="550863" y="6595778"/>
            <a:ext cx="1652387" cy="1077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400" cap="all" spc="80">
                <a:solidFill>
                  <a:schemeClr val="bg1"/>
                </a:solidFill>
              </a:rPr>
              <a:t>©</a:t>
            </a:r>
            <a:r>
              <a:rPr lang="en-US" sz="400" cap="all" spc="0" baseline="0">
                <a:solidFill>
                  <a:schemeClr val="bg1"/>
                </a:solidFill>
              </a:rPr>
              <a:t> </a:t>
            </a:r>
            <a:r>
              <a:rPr lang="en-US" sz="400" cap="all" spc="80">
                <a:solidFill>
                  <a:schemeClr val="bg1"/>
                </a:solidFill>
              </a:rPr>
              <a:t>Oriflame Cosmetics</a:t>
            </a:r>
            <a:r>
              <a:rPr lang="en-US" sz="400" cap="all" spc="80" baseline="0">
                <a:solidFill>
                  <a:schemeClr val="bg1"/>
                </a:solidFill>
              </a:rPr>
              <a:t> AG,2023</a:t>
            </a:r>
            <a:endParaRPr lang="en-US" sz="1600" cap="all" spc="80">
              <a:solidFill>
                <a:schemeClr val="bg1"/>
              </a:solidFill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5F06BAAB-619D-684E-B6F4-EE158380354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87908" y="6299505"/>
            <a:ext cx="1422989" cy="491798"/>
          </a:xfrm>
          <a:prstGeom prst="rect">
            <a:avLst/>
          </a:prstGeom>
        </p:spPr>
      </p:pic>
      <p:sp>
        <p:nvSpPr>
          <p:cNvPr id="2" name="Freeform 1">
            <a:extLst>
              <a:ext uri="{FF2B5EF4-FFF2-40B4-BE49-F238E27FC236}">
                <a16:creationId xmlns:a16="http://schemas.microsoft.com/office/drawing/2014/main" id="{3EE88272-1D45-8E12-97D8-C26C8C77F9A4}"/>
              </a:ext>
            </a:extLst>
          </p:cNvPr>
          <p:cNvSpPr/>
          <p:nvPr userDrawn="1"/>
        </p:nvSpPr>
        <p:spPr>
          <a:xfrm rot="3083384" flipH="1">
            <a:off x="6619803" y="1054817"/>
            <a:ext cx="6164669" cy="4783072"/>
          </a:xfrm>
          <a:custGeom>
            <a:avLst/>
            <a:gdLst>
              <a:gd name="connsiteX0" fmla="*/ 3889232 w 4244988"/>
              <a:gd name="connsiteY0" fmla="*/ 612826 h 3293622"/>
              <a:gd name="connsiteX1" fmla="*/ 3617977 w 4244988"/>
              <a:gd name="connsiteY1" fmla="*/ 2928481 h 3293622"/>
              <a:gd name="connsiteX2" fmla="*/ 1299683 w 4244988"/>
              <a:gd name="connsiteY2" fmla="*/ 2680796 h 3293622"/>
              <a:gd name="connsiteX3" fmla="*/ 1224707 w 4244988"/>
              <a:gd name="connsiteY3" fmla="*/ 2579169 h 3293622"/>
              <a:gd name="connsiteX4" fmla="*/ 1163631 w 4244988"/>
              <a:gd name="connsiteY4" fmla="*/ 2481534 h 3293622"/>
              <a:gd name="connsiteX5" fmla="*/ 1162772 w 4244988"/>
              <a:gd name="connsiteY5" fmla="*/ 2482220 h 3293622"/>
              <a:gd name="connsiteX6" fmla="*/ 1066262 w 4244988"/>
              <a:gd name="connsiteY6" fmla="*/ 2329542 h 3293622"/>
              <a:gd name="connsiteX7" fmla="*/ 303465 w 4244988"/>
              <a:gd name="connsiteY7" fmla="*/ 1782295 h 3293622"/>
              <a:gd name="connsiteX8" fmla="*/ 160860 w 4244988"/>
              <a:gd name="connsiteY8" fmla="*/ 1769870 h 3293622"/>
              <a:gd name="connsiteX9" fmla="*/ 160172 w 4244988"/>
              <a:gd name="connsiteY9" fmla="*/ 1769009 h 3293622"/>
              <a:gd name="connsiteX10" fmla="*/ 106474 w 4244988"/>
              <a:gd name="connsiteY10" fmla="*/ 1769009 h 3293622"/>
              <a:gd name="connsiteX11" fmla="*/ 100125 w 4244988"/>
              <a:gd name="connsiteY11" fmla="*/ 1769873 h 3293622"/>
              <a:gd name="connsiteX12" fmla="*/ 21932 w 4244988"/>
              <a:gd name="connsiteY12" fmla="*/ 1732067 h 3293622"/>
              <a:gd name="connsiteX13" fmla="*/ 12753 w 4244988"/>
              <a:gd name="connsiteY13" fmla="*/ 1619690 h 3293622"/>
              <a:gd name="connsiteX14" fmla="*/ 29905 w 4244988"/>
              <a:gd name="connsiteY14" fmla="*/ 1599352 h 3293622"/>
              <a:gd name="connsiteX15" fmla="*/ 28165 w 4244988"/>
              <a:gd name="connsiteY15" fmla="*/ 1597173 h 3293622"/>
              <a:gd name="connsiteX16" fmla="*/ 39122 w 4244988"/>
              <a:gd name="connsiteY16" fmla="*/ 1588423 h 3293622"/>
              <a:gd name="connsiteX17" fmla="*/ 39125 w 4244988"/>
              <a:gd name="connsiteY17" fmla="*/ 1588420 h 3293622"/>
              <a:gd name="connsiteX18" fmla="*/ 39130 w 4244988"/>
              <a:gd name="connsiteY18" fmla="*/ 1588417 h 3293622"/>
              <a:gd name="connsiteX19" fmla="*/ 1570938 w 4244988"/>
              <a:gd name="connsiteY19" fmla="*/ 365142 h 3293622"/>
              <a:gd name="connsiteX20" fmla="*/ 1602119 w 4244988"/>
              <a:gd name="connsiteY20" fmla="*/ 340241 h 3293622"/>
              <a:gd name="connsiteX21" fmla="*/ 1603364 w 4244988"/>
              <a:gd name="connsiteY21" fmla="*/ 341800 h 3293622"/>
              <a:gd name="connsiteX22" fmla="*/ 1708605 w 4244988"/>
              <a:gd name="connsiteY22" fmla="*/ 266040 h 3293622"/>
              <a:gd name="connsiteX23" fmla="*/ 3889232 w 4244988"/>
              <a:gd name="connsiteY23" fmla="*/ 612826 h 32936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4244988" h="3293622">
                <a:moveTo>
                  <a:pt x="3889232" y="612826"/>
                </a:moveTo>
                <a:cubicBezTo>
                  <a:pt x="4454506" y="1320673"/>
                  <a:pt x="4333061" y="2357427"/>
                  <a:pt x="3617977" y="2928481"/>
                </a:cubicBezTo>
                <a:cubicBezTo>
                  <a:pt x="2902892" y="3499535"/>
                  <a:pt x="1864957" y="3388643"/>
                  <a:pt x="1299683" y="2680796"/>
                </a:cubicBezTo>
                <a:cubicBezTo>
                  <a:pt x="1273185" y="2647616"/>
                  <a:pt x="1248197" y="2613713"/>
                  <a:pt x="1224707" y="2579169"/>
                </a:cubicBezTo>
                <a:lnTo>
                  <a:pt x="1163631" y="2481534"/>
                </a:lnTo>
                <a:lnTo>
                  <a:pt x="1162772" y="2482220"/>
                </a:lnTo>
                <a:lnTo>
                  <a:pt x="1066262" y="2329542"/>
                </a:lnTo>
                <a:cubicBezTo>
                  <a:pt x="848799" y="2029269"/>
                  <a:pt x="561714" y="1833589"/>
                  <a:pt x="303465" y="1782295"/>
                </a:cubicBezTo>
                <a:lnTo>
                  <a:pt x="160860" y="1769870"/>
                </a:lnTo>
                <a:lnTo>
                  <a:pt x="160172" y="1769009"/>
                </a:lnTo>
                <a:lnTo>
                  <a:pt x="106474" y="1769009"/>
                </a:lnTo>
                <a:lnTo>
                  <a:pt x="100125" y="1769873"/>
                </a:lnTo>
                <a:cubicBezTo>
                  <a:pt x="70606" y="1769618"/>
                  <a:pt x="41612" y="1756710"/>
                  <a:pt x="21932" y="1732067"/>
                </a:cubicBezTo>
                <a:cubicBezTo>
                  <a:pt x="-4308" y="1699209"/>
                  <a:pt x="-6539" y="1654818"/>
                  <a:pt x="12753" y="1619690"/>
                </a:cubicBezTo>
                <a:lnTo>
                  <a:pt x="29905" y="1599352"/>
                </a:lnTo>
                <a:lnTo>
                  <a:pt x="28165" y="1597173"/>
                </a:lnTo>
                <a:lnTo>
                  <a:pt x="39122" y="1588423"/>
                </a:lnTo>
                <a:lnTo>
                  <a:pt x="39125" y="1588420"/>
                </a:lnTo>
                <a:lnTo>
                  <a:pt x="39130" y="1588417"/>
                </a:lnTo>
                <a:lnTo>
                  <a:pt x="1570938" y="365142"/>
                </a:lnTo>
                <a:lnTo>
                  <a:pt x="1602119" y="340241"/>
                </a:lnTo>
                <a:lnTo>
                  <a:pt x="1603364" y="341800"/>
                </a:lnTo>
                <a:lnTo>
                  <a:pt x="1708605" y="266040"/>
                </a:lnTo>
                <a:cubicBezTo>
                  <a:pt x="2413918" y="-189719"/>
                  <a:pt x="3359287" y="-50780"/>
                  <a:pt x="3889232" y="612826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err="1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530EE688-A55F-A5F2-7DF8-B518451257E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804367" y="1459831"/>
            <a:ext cx="2984068" cy="1919331"/>
          </a:xfrm>
        </p:spPr>
        <p:txBody>
          <a:bodyPr anchor="b"/>
          <a:lstStyle>
            <a:lvl1pPr marL="0" indent="0" algn="ctr">
              <a:spcBef>
                <a:spcPts val="400"/>
              </a:spcBef>
              <a:buNone/>
              <a:defRPr sz="4000" b="1">
                <a:solidFill>
                  <a:schemeClr val="bg1"/>
                </a:solidFill>
              </a:defRPr>
            </a:lvl1pPr>
            <a:lvl2pPr marL="265113" indent="0">
              <a:buNone/>
              <a:defRPr>
                <a:solidFill>
                  <a:schemeClr val="bg2"/>
                </a:solidFill>
              </a:defRPr>
            </a:lvl2pPr>
            <a:lvl3pPr marL="446088" indent="0">
              <a:buNone/>
              <a:defRPr>
                <a:solidFill>
                  <a:schemeClr val="bg2"/>
                </a:solidFill>
              </a:defRPr>
            </a:lvl3pPr>
            <a:lvl4pPr marL="627063" indent="0">
              <a:buNone/>
              <a:defRPr>
                <a:solidFill>
                  <a:schemeClr val="bg2"/>
                </a:solidFill>
              </a:defRPr>
            </a:lvl4pPr>
            <a:lvl5pPr marL="808038" indent="0">
              <a:buNone/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0887A04-C661-3F41-232D-6DDDE7BCF87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804367" y="3477975"/>
            <a:ext cx="2978150" cy="1013814"/>
          </a:xfrm>
        </p:spPr>
        <p:txBody>
          <a:bodyPr anchor="t"/>
          <a:lstStyle>
            <a:lvl1pPr marL="0" indent="0" algn="ctr">
              <a:lnSpc>
                <a:spcPct val="95000"/>
              </a:lnSpc>
              <a:buNone/>
              <a:defRPr sz="1600" b="0">
                <a:solidFill>
                  <a:schemeClr val="bg1"/>
                </a:solidFill>
              </a:defRPr>
            </a:lvl1pPr>
            <a:lvl2pPr marL="265113" indent="0">
              <a:buNone/>
              <a:defRPr>
                <a:solidFill>
                  <a:schemeClr val="bg2"/>
                </a:solidFill>
              </a:defRPr>
            </a:lvl2pPr>
            <a:lvl3pPr marL="446088" indent="0">
              <a:buNone/>
              <a:defRPr>
                <a:solidFill>
                  <a:schemeClr val="bg2"/>
                </a:solidFill>
              </a:defRPr>
            </a:lvl3pPr>
            <a:lvl4pPr marL="627063" indent="0">
              <a:buNone/>
              <a:defRPr>
                <a:solidFill>
                  <a:schemeClr val="bg2"/>
                </a:solidFill>
              </a:defRPr>
            </a:lvl4pPr>
            <a:lvl5pPr marL="808038" indent="0">
              <a:buNone/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C6E6F271-BA4D-B24B-DD18-5F70A4E7B6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5" y="657224"/>
            <a:ext cx="5929728" cy="35243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FC4EF572-84D6-41B4-FBCF-DEA34B63E51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50865" y="1076357"/>
            <a:ext cx="5929728" cy="294852"/>
          </a:xfr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65112" indent="0">
              <a:buNone/>
              <a:defRPr/>
            </a:lvl2pPr>
            <a:lvl3pPr marL="501650" indent="0">
              <a:buNone/>
              <a:defRPr/>
            </a:lvl3pPr>
            <a:lvl4pPr marL="698500" indent="0">
              <a:buNone/>
              <a:defRPr/>
            </a:lvl4pPr>
            <a:lvl5pPr marL="944563" indent="0">
              <a:buNone/>
              <a:defRPr/>
            </a:lvl5pPr>
          </a:lstStyle>
          <a:p>
            <a:pPr lvl="0"/>
            <a:r>
              <a:rPr lang="en-GB" noProof="0"/>
              <a:t>Subheading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7BC93F6F-9E02-89C8-900D-80F52A29B5E4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551384" y="1697599"/>
            <a:ext cx="2745425" cy="41052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2E8EC8C9-7EA8-4B1F-714C-F270EF42809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3735167" y="1697599"/>
            <a:ext cx="2745425" cy="41052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998092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11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text columns right + text in bub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9B55996B-0825-9143-84C7-966E866E4891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err="1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E57B4A7E-F262-C84B-9C2F-85B8C12B480B}"/>
              </a:ext>
            </a:extLst>
          </p:cNvPr>
          <p:cNvSpPr/>
          <p:nvPr userDrawn="1"/>
        </p:nvSpPr>
        <p:spPr>
          <a:xfrm>
            <a:off x="892" y="115888"/>
            <a:ext cx="12191108" cy="619283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Freeform 6">
            <a:extLst>
              <a:ext uri="{FF2B5EF4-FFF2-40B4-BE49-F238E27FC236}">
                <a16:creationId xmlns:a16="http://schemas.microsoft.com/office/drawing/2014/main" id="{DEEFB82D-0548-AF0A-EC69-5EA71A1EDBEA}"/>
              </a:ext>
            </a:extLst>
          </p:cNvPr>
          <p:cNvSpPr/>
          <p:nvPr userDrawn="1"/>
        </p:nvSpPr>
        <p:spPr>
          <a:xfrm rot="18516616">
            <a:off x="-597535" y="1054817"/>
            <a:ext cx="6164669" cy="4783072"/>
          </a:xfrm>
          <a:custGeom>
            <a:avLst/>
            <a:gdLst>
              <a:gd name="connsiteX0" fmla="*/ 3889232 w 4244988"/>
              <a:gd name="connsiteY0" fmla="*/ 612826 h 3293622"/>
              <a:gd name="connsiteX1" fmla="*/ 3617977 w 4244988"/>
              <a:gd name="connsiteY1" fmla="*/ 2928481 h 3293622"/>
              <a:gd name="connsiteX2" fmla="*/ 1299683 w 4244988"/>
              <a:gd name="connsiteY2" fmla="*/ 2680796 h 3293622"/>
              <a:gd name="connsiteX3" fmla="*/ 1224707 w 4244988"/>
              <a:gd name="connsiteY3" fmla="*/ 2579169 h 3293622"/>
              <a:gd name="connsiteX4" fmla="*/ 1163631 w 4244988"/>
              <a:gd name="connsiteY4" fmla="*/ 2481534 h 3293622"/>
              <a:gd name="connsiteX5" fmla="*/ 1162772 w 4244988"/>
              <a:gd name="connsiteY5" fmla="*/ 2482220 h 3293622"/>
              <a:gd name="connsiteX6" fmla="*/ 1066262 w 4244988"/>
              <a:gd name="connsiteY6" fmla="*/ 2329542 h 3293622"/>
              <a:gd name="connsiteX7" fmla="*/ 303465 w 4244988"/>
              <a:gd name="connsiteY7" fmla="*/ 1782295 h 3293622"/>
              <a:gd name="connsiteX8" fmla="*/ 160860 w 4244988"/>
              <a:gd name="connsiteY8" fmla="*/ 1769870 h 3293622"/>
              <a:gd name="connsiteX9" fmla="*/ 160172 w 4244988"/>
              <a:gd name="connsiteY9" fmla="*/ 1769009 h 3293622"/>
              <a:gd name="connsiteX10" fmla="*/ 106474 w 4244988"/>
              <a:gd name="connsiteY10" fmla="*/ 1769009 h 3293622"/>
              <a:gd name="connsiteX11" fmla="*/ 100125 w 4244988"/>
              <a:gd name="connsiteY11" fmla="*/ 1769873 h 3293622"/>
              <a:gd name="connsiteX12" fmla="*/ 21932 w 4244988"/>
              <a:gd name="connsiteY12" fmla="*/ 1732067 h 3293622"/>
              <a:gd name="connsiteX13" fmla="*/ 12753 w 4244988"/>
              <a:gd name="connsiteY13" fmla="*/ 1619690 h 3293622"/>
              <a:gd name="connsiteX14" fmla="*/ 29905 w 4244988"/>
              <a:gd name="connsiteY14" fmla="*/ 1599352 h 3293622"/>
              <a:gd name="connsiteX15" fmla="*/ 28165 w 4244988"/>
              <a:gd name="connsiteY15" fmla="*/ 1597173 h 3293622"/>
              <a:gd name="connsiteX16" fmla="*/ 39122 w 4244988"/>
              <a:gd name="connsiteY16" fmla="*/ 1588423 h 3293622"/>
              <a:gd name="connsiteX17" fmla="*/ 39125 w 4244988"/>
              <a:gd name="connsiteY17" fmla="*/ 1588420 h 3293622"/>
              <a:gd name="connsiteX18" fmla="*/ 39130 w 4244988"/>
              <a:gd name="connsiteY18" fmla="*/ 1588417 h 3293622"/>
              <a:gd name="connsiteX19" fmla="*/ 1570938 w 4244988"/>
              <a:gd name="connsiteY19" fmla="*/ 365142 h 3293622"/>
              <a:gd name="connsiteX20" fmla="*/ 1602119 w 4244988"/>
              <a:gd name="connsiteY20" fmla="*/ 340241 h 3293622"/>
              <a:gd name="connsiteX21" fmla="*/ 1603364 w 4244988"/>
              <a:gd name="connsiteY21" fmla="*/ 341800 h 3293622"/>
              <a:gd name="connsiteX22" fmla="*/ 1708605 w 4244988"/>
              <a:gd name="connsiteY22" fmla="*/ 266040 h 3293622"/>
              <a:gd name="connsiteX23" fmla="*/ 3889232 w 4244988"/>
              <a:gd name="connsiteY23" fmla="*/ 612826 h 32936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4244988" h="3293622">
                <a:moveTo>
                  <a:pt x="3889232" y="612826"/>
                </a:moveTo>
                <a:cubicBezTo>
                  <a:pt x="4454506" y="1320673"/>
                  <a:pt x="4333061" y="2357427"/>
                  <a:pt x="3617977" y="2928481"/>
                </a:cubicBezTo>
                <a:cubicBezTo>
                  <a:pt x="2902892" y="3499535"/>
                  <a:pt x="1864957" y="3388643"/>
                  <a:pt x="1299683" y="2680796"/>
                </a:cubicBezTo>
                <a:cubicBezTo>
                  <a:pt x="1273185" y="2647616"/>
                  <a:pt x="1248197" y="2613713"/>
                  <a:pt x="1224707" y="2579169"/>
                </a:cubicBezTo>
                <a:lnTo>
                  <a:pt x="1163631" y="2481534"/>
                </a:lnTo>
                <a:lnTo>
                  <a:pt x="1162772" y="2482220"/>
                </a:lnTo>
                <a:lnTo>
                  <a:pt x="1066262" y="2329542"/>
                </a:lnTo>
                <a:cubicBezTo>
                  <a:pt x="848799" y="2029269"/>
                  <a:pt x="561714" y="1833589"/>
                  <a:pt x="303465" y="1782295"/>
                </a:cubicBezTo>
                <a:lnTo>
                  <a:pt x="160860" y="1769870"/>
                </a:lnTo>
                <a:lnTo>
                  <a:pt x="160172" y="1769009"/>
                </a:lnTo>
                <a:lnTo>
                  <a:pt x="106474" y="1769009"/>
                </a:lnTo>
                <a:lnTo>
                  <a:pt x="100125" y="1769873"/>
                </a:lnTo>
                <a:cubicBezTo>
                  <a:pt x="70606" y="1769618"/>
                  <a:pt x="41612" y="1756710"/>
                  <a:pt x="21932" y="1732067"/>
                </a:cubicBezTo>
                <a:cubicBezTo>
                  <a:pt x="-4308" y="1699209"/>
                  <a:pt x="-6539" y="1654818"/>
                  <a:pt x="12753" y="1619690"/>
                </a:cubicBezTo>
                <a:lnTo>
                  <a:pt x="29905" y="1599352"/>
                </a:lnTo>
                <a:lnTo>
                  <a:pt x="28165" y="1597173"/>
                </a:lnTo>
                <a:lnTo>
                  <a:pt x="39122" y="1588423"/>
                </a:lnTo>
                <a:lnTo>
                  <a:pt x="39125" y="1588420"/>
                </a:lnTo>
                <a:lnTo>
                  <a:pt x="39130" y="1588417"/>
                </a:lnTo>
                <a:lnTo>
                  <a:pt x="1570938" y="365142"/>
                </a:lnTo>
                <a:lnTo>
                  <a:pt x="1602119" y="340241"/>
                </a:lnTo>
                <a:lnTo>
                  <a:pt x="1603364" y="341800"/>
                </a:lnTo>
                <a:lnTo>
                  <a:pt x="1708605" y="266040"/>
                </a:lnTo>
                <a:cubicBezTo>
                  <a:pt x="2413918" y="-189719"/>
                  <a:pt x="3359287" y="-50780"/>
                  <a:pt x="3889232" y="612826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err="1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1D38863-721D-28F5-2D5E-881D50AD2313}"/>
              </a:ext>
            </a:extLst>
          </p:cNvPr>
          <p:cNvCxnSpPr/>
          <p:nvPr userDrawn="1"/>
        </p:nvCxnSpPr>
        <p:spPr>
          <a:xfrm flipH="1">
            <a:off x="4856898" y="6442437"/>
            <a:ext cx="27114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7E19E35C-9560-218E-F708-9421405A870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371482" y="1459831"/>
            <a:ext cx="2984068" cy="1919331"/>
          </a:xfrm>
        </p:spPr>
        <p:txBody>
          <a:bodyPr anchor="b"/>
          <a:lstStyle>
            <a:lvl1pPr marL="0" indent="0" algn="ctr">
              <a:spcBef>
                <a:spcPts val="400"/>
              </a:spcBef>
              <a:buNone/>
              <a:defRPr sz="4000" b="1">
                <a:solidFill>
                  <a:schemeClr val="bg1"/>
                </a:solidFill>
              </a:defRPr>
            </a:lvl1pPr>
            <a:lvl2pPr marL="265113" indent="0">
              <a:buNone/>
              <a:defRPr>
                <a:solidFill>
                  <a:schemeClr val="bg2"/>
                </a:solidFill>
              </a:defRPr>
            </a:lvl2pPr>
            <a:lvl3pPr marL="446088" indent="0">
              <a:buNone/>
              <a:defRPr>
                <a:solidFill>
                  <a:schemeClr val="bg2"/>
                </a:solidFill>
              </a:defRPr>
            </a:lvl3pPr>
            <a:lvl4pPr marL="627063" indent="0">
              <a:buNone/>
              <a:defRPr>
                <a:solidFill>
                  <a:schemeClr val="bg2"/>
                </a:solidFill>
              </a:defRPr>
            </a:lvl4pPr>
            <a:lvl5pPr marL="808038" indent="0">
              <a:buNone/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C0945F8C-B6BF-B516-43E7-52879068970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71482" y="3477975"/>
            <a:ext cx="2978150" cy="1013814"/>
          </a:xfrm>
        </p:spPr>
        <p:txBody>
          <a:bodyPr anchor="t"/>
          <a:lstStyle>
            <a:lvl1pPr marL="0" indent="0" algn="ctr">
              <a:lnSpc>
                <a:spcPct val="95000"/>
              </a:lnSpc>
              <a:buNone/>
              <a:defRPr sz="1600" b="0">
                <a:solidFill>
                  <a:schemeClr val="bg1"/>
                </a:solidFill>
              </a:defRPr>
            </a:lvl1pPr>
            <a:lvl2pPr marL="265113" indent="0">
              <a:buNone/>
              <a:defRPr>
                <a:solidFill>
                  <a:schemeClr val="bg2"/>
                </a:solidFill>
              </a:defRPr>
            </a:lvl2pPr>
            <a:lvl3pPr marL="446088" indent="0">
              <a:buNone/>
              <a:defRPr>
                <a:solidFill>
                  <a:schemeClr val="bg2"/>
                </a:solidFill>
              </a:defRPr>
            </a:lvl3pPr>
            <a:lvl4pPr marL="627063" indent="0">
              <a:buNone/>
              <a:defRPr>
                <a:solidFill>
                  <a:schemeClr val="bg2"/>
                </a:solidFill>
              </a:defRPr>
            </a:lvl4pPr>
            <a:lvl5pPr marL="808038" indent="0">
              <a:buNone/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7A42DA1C-A735-C245-B501-BBA152ED7841}"/>
              </a:ext>
            </a:extLst>
          </p:cNvPr>
          <p:cNvSpPr txBox="1">
            <a:spLocks/>
          </p:cNvSpPr>
          <p:nvPr userDrawn="1"/>
        </p:nvSpPr>
        <p:spPr>
          <a:xfrm>
            <a:off x="11369993" y="6456998"/>
            <a:ext cx="271144" cy="17526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sv-SE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F2B5CF4-79E2-4BCE-8F81-53ED60D4893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E631951E-A200-BD4A-83B4-B8E36C5AF4C1}"/>
              </a:ext>
            </a:extLst>
          </p:cNvPr>
          <p:cNvCxnSpPr/>
          <p:nvPr userDrawn="1"/>
        </p:nvCxnSpPr>
        <p:spPr>
          <a:xfrm flipH="1">
            <a:off x="11369993" y="6635115"/>
            <a:ext cx="27114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E1A17488-8DA2-1344-8EA0-8CECAA200682}"/>
              </a:ext>
            </a:extLst>
          </p:cNvPr>
          <p:cNvCxnSpPr/>
          <p:nvPr userDrawn="1"/>
        </p:nvCxnSpPr>
        <p:spPr>
          <a:xfrm flipH="1">
            <a:off x="11369993" y="6442437"/>
            <a:ext cx="27114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6A1F3670-37EB-864D-8C83-5019CFA92C99}"/>
              </a:ext>
            </a:extLst>
          </p:cNvPr>
          <p:cNvSpPr txBox="1"/>
          <p:nvPr userDrawn="1"/>
        </p:nvSpPr>
        <p:spPr>
          <a:xfrm flipH="1">
            <a:off x="550863" y="6595778"/>
            <a:ext cx="1652387" cy="1077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400" cap="all" spc="80">
                <a:solidFill>
                  <a:schemeClr val="bg1"/>
                </a:solidFill>
              </a:rPr>
              <a:t>©</a:t>
            </a:r>
            <a:r>
              <a:rPr lang="en-US" sz="400" cap="all" spc="0" baseline="0">
                <a:solidFill>
                  <a:schemeClr val="bg1"/>
                </a:solidFill>
              </a:rPr>
              <a:t> </a:t>
            </a:r>
            <a:r>
              <a:rPr lang="en-US" sz="400" cap="all" spc="80">
                <a:solidFill>
                  <a:schemeClr val="bg1"/>
                </a:solidFill>
              </a:rPr>
              <a:t>Oriflame Cosmetics</a:t>
            </a:r>
            <a:r>
              <a:rPr lang="en-US" sz="400" cap="all" spc="80" baseline="0">
                <a:solidFill>
                  <a:schemeClr val="bg1"/>
                </a:solidFill>
              </a:rPr>
              <a:t> AG,2023</a:t>
            </a:r>
            <a:endParaRPr lang="en-US" sz="1600" cap="all" spc="80">
              <a:solidFill>
                <a:schemeClr val="bg1"/>
              </a:solidFill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B669EAEC-7174-1B40-AAEE-E12869648CB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87908" y="6299505"/>
            <a:ext cx="1422989" cy="491798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0DE2BB1-0B8F-4E9F-CF47-498C4363AC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6405" y="657225"/>
            <a:ext cx="5964734" cy="33709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CE81E67-0DE6-72A9-B36F-E674B89C914A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676403" y="1076356"/>
            <a:ext cx="5964734" cy="294853"/>
          </a:xfr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65112" indent="0">
              <a:buNone/>
              <a:defRPr/>
            </a:lvl2pPr>
            <a:lvl3pPr marL="501650" indent="0">
              <a:buNone/>
              <a:defRPr/>
            </a:lvl3pPr>
            <a:lvl4pPr marL="698500" indent="0">
              <a:buNone/>
              <a:defRPr/>
            </a:lvl4pPr>
            <a:lvl5pPr marL="944563" indent="0">
              <a:buNone/>
              <a:defRPr/>
            </a:lvl5pPr>
          </a:lstStyle>
          <a:p>
            <a:pPr lvl="0"/>
            <a:r>
              <a:rPr lang="en-GB" noProof="0"/>
              <a:t>Subheading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9B430DD4-66A2-B5C5-FD03-38477B5D621D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5676403" y="1697599"/>
            <a:ext cx="2766779" cy="41052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EFC589DE-EB6A-1AF2-A4E5-8A1158B57727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8874358" y="1697599"/>
            <a:ext cx="2766779" cy="41052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66167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11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rows (purp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50863" y="949234"/>
            <a:ext cx="7216621" cy="4784816"/>
          </a:xfrm>
        </p:spPr>
        <p:txBody>
          <a:bodyPr anchor="ctr">
            <a:noAutofit/>
          </a:bodyPr>
          <a:lstStyle>
            <a:lvl1pPr algn="l">
              <a:defRPr sz="5300" b="0" baseline="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Remember that this page should maximum be on three rows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F2B5CF4-79E2-4BCE-8F81-53ED60D4893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815151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rows (purple) + grap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50863" y="949234"/>
            <a:ext cx="7216621" cy="4784816"/>
          </a:xfrm>
        </p:spPr>
        <p:txBody>
          <a:bodyPr anchor="ctr">
            <a:noAutofit/>
          </a:bodyPr>
          <a:lstStyle>
            <a:lvl1pPr algn="l">
              <a:defRPr sz="5300" b="0" baseline="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Remember that this page should maximum be on three rows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F2B5CF4-79E2-4BCE-8F81-53ED60D489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Freeform 2">
            <a:extLst>
              <a:ext uri="{FF2B5EF4-FFF2-40B4-BE49-F238E27FC236}">
                <a16:creationId xmlns:a16="http://schemas.microsoft.com/office/drawing/2014/main" id="{606DF007-6D61-7136-308E-9B85C84B092C}"/>
              </a:ext>
            </a:extLst>
          </p:cNvPr>
          <p:cNvSpPr/>
          <p:nvPr userDrawn="1"/>
        </p:nvSpPr>
        <p:spPr>
          <a:xfrm rot="13877073" flipH="1">
            <a:off x="8471738" y="1084484"/>
            <a:ext cx="3179003" cy="2466540"/>
          </a:xfrm>
          <a:custGeom>
            <a:avLst/>
            <a:gdLst>
              <a:gd name="connsiteX0" fmla="*/ 3889232 w 4244988"/>
              <a:gd name="connsiteY0" fmla="*/ 612826 h 3293622"/>
              <a:gd name="connsiteX1" fmla="*/ 3617977 w 4244988"/>
              <a:gd name="connsiteY1" fmla="*/ 2928481 h 3293622"/>
              <a:gd name="connsiteX2" fmla="*/ 1299683 w 4244988"/>
              <a:gd name="connsiteY2" fmla="*/ 2680796 h 3293622"/>
              <a:gd name="connsiteX3" fmla="*/ 1224707 w 4244988"/>
              <a:gd name="connsiteY3" fmla="*/ 2579169 h 3293622"/>
              <a:gd name="connsiteX4" fmla="*/ 1163631 w 4244988"/>
              <a:gd name="connsiteY4" fmla="*/ 2481534 h 3293622"/>
              <a:gd name="connsiteX5" fmla="*/ 1162772 w 4244988"/>
              <a:gd name="connsiteY5" fmla="*/ 2482220 h 3293622"/>
              <a:gd name="connsiteX6" fmla="*/ 1066262 w 4244988"/>
              <a:gd name="connsiteY6" fmla="*/ 2329542 h 3293622"/>
              <a:gd name="connsiteX7" fmla="*/ 303465 w 4244988"/>
              <a:gd name="connsiteY7" fmla="*/ 1782295 h 3293622"/>
              <a:gd name="connsiteX8" fmla="*/ 160860 w 4244988"/>
              <a:gd name="connsiteY8" fmla="*/ 1769870 h 3293622"/>
              <a:gd name="connsiteX9" fmla="*/ 160172 w 4244988"/>
              <a:gd name="connsiteY9" fmla="*/ 1769009 h 3293622"/>
              <a:gd name="connsiteX10" fmla="*/ 106474 w 4244988"/>
              <a:gd name="connsiteY10" fmla="*/ 1769009 h 3293622"/>
              <a:gd name="connsiteX11" fmla="*/ 100125 w 4244988"/>
              <a:gd name="connsiteY11" fmla="*/ 1769873 h 3293622"/>
              <a:gd name="connsiteX12" fmla="*/ 21932 w 4244988"/>
              <a:gd name="connsiteY12" fmla="*/ 1732067 h 3293622"/>
              <a:gd name="connsiteX13" fmla="*/ 12753 w 4244988"/>
              <a:gd name="connsiteY13" fmla="*/ 1619690 h 3293622"/>
              <a:gd name="connsiteX14" fmla="*/ 29905 w 4244988"/>
              <a:gd name="connsiteY14" fmla="*/ 1599352 h 3293622"/>
              <a:gd name="connsiteX15" fmla="*/ 28165 w 4244988"/>
              <a:gd name="connsiteY15" fmla="*/ 1597173 h 3293622"/>
              <a:gd name="connsiteX16" fmla="*/ 39122 w 4244988"/>
              <a:gd name="connsiteY16" fmla="*/ 1588423 h 3293622"/>
              <a:gd name="connsiteX17" fmla="*/ 39125 w 4244988"/>
              <a:gd name="connsiteY17" fmla="*/ 1588420 h 3293622"/>
              <a:gd name="connsiteX18" fmla="*/ 39130 w 4244988"/>
              <a:gd name="connsiteY18" fmla="*/ 1588417 h 3293622"/>
              <a:gd name="connsiteX19" fmla="*/ 1570938 w 4244988"/>
              <a:gd name="connsiteY19" fmla="*/ 365142 h 3293622"/>
              <a:gd name="connsiteX20" fmla="*/ 1602119 w 4244988"/>
              <a:gd name="connsiteY20" fmla="*/ 340241 h 3293622"/>
              <a:gd name="connsiteX21" fmla="*/ 1603364 w 4244988"/>
              <a:gd name="connsiteY21" fmla="*/ 341800 h 3293622"/>
              <a:gd name="connsiteX22" fmla="*/ 1708605 w 4244988"/>
              <a:gd name="connsiteY22" fmla="*/ 266040 h 3293622"/>
              <a:gd name="connsiteX23" fmla="*/ 3889232 w 4244988"/>
              <a:gd name="connsiteY23" fmla="*/ 612826 h 32936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4244988" h="3293622">
                <a:moveTo>
                  <a:pt x="3889232" y="612826"/>
                </a:moveTo>
                <a:cubicBezTo>
                  <a:pt x="4454506" y="1320673"/>
                  <a:pt x="4333061" y="2357427"/>
                  <a:pt x="3617977" y="2928481"/>
                </a:cubicBezTo>
                <a:cubicBezTo>
                  <a:pt x="2902892" y="3499535"/>
                  <a:pt x="1864957" y="3388643"/>
                  <a:pt x="1299683" y="2680796"/>
                </a:cubicBezTo>
                <a:cubicBezTo>
                  <a:pt x="1273185" y="2647616"/>
                  <a:pt x="1248197" y="2613713"/>
                  <a:pt x="1224707" y="2579169"/>
                </a:cubicBezTo>
                <a:lnTo>
                  <a:pt x="1163631" y="2481534"/>
                </a:lnTo>
                <a:lnTo>
                  <a:pt x="1162772" y="2482220"/>
                </a:lnTo>
                <a:lnTo>
                  <a:pt x="1066262" y="2329542"/>
                </a:lnTo>
                <a:cubicBezTo>
                  <a:pt x="848799" y="2029269"/>
                  <a:pt x="561714" y="1833589"/>
                  <a:pt x="303465" y="1782295"/>
                </a:cubicBezTo>
                <a:lnTo>
                  <a:pt x="160860" y="1769870"/>
                </a:lnTo>
                <a:lnTo>
                  <a:pt x="160172" y="1769009"/>
                </a:lnTo>
                <a:lnTo>
                  <a:pt x="106474" y="1769009"/>
                </a:lnTo>
                <a:lnTo>
                  <a:pt x="100125" y="1769873"/>
                </a:lnTo>
                <a:cubicBezTo>
                  <a:pt x="70606" y="1769618"/>
                  <a:pt x="41612" y="1756710"/>
                  <a:pt x="21932" y="1732067"/>
                </a:cubicBezTo>
                <a:cubicBezTo>
                  <a:pt x="-4308" y="1699209"/>
                  <a:pt x="-6539" y="1654818"/>
                  <a:pt x="12753" y="1619690"/>
                </a:cubicBezTo>
                <a:lnTo>
                  <a:pt x="29905" y="1599352"/>
                </a:lnTo>
                <a:lnTo>
                  <a:pt x="28165" y="1597173"/>
                </a:lnTo>
                <a:lnTo>
                  <a:pt x="39122" y="1588423"/>
                </a:lnTo>
                <a:lnTo>
                  <a:pt x="39125" y="1588420"/>
                </a:lnTo>
                <a:lnTo>
                  <a:pt x="39130" y="1588417"/>
                </a:lnTo>
                <a:lnTo>
                  <a:pt x="1570938" y="365142"/>
                </a:lnTo>
                <a:lnTo>
                  <a:pt x="1602119" y="340241"/>
                </a:lnTo>
                <a:lnTo>
                  <a:pt x="1603364" y="341800"/>
                </a:lnTo>
                <a:lnTo>
                  <a:pt x="1708605" y="266040"/>
                </a:lnTo>
                <a:cubicBezTo>
                  <a:pt x="2413918" y="-189719"/>
                  <a:pt x="3359287" y="-50780"/>
                  <a:pt x="3889232" y="612826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err="1"/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1601C4D7-FD74-4E0F-C628-B13E2B933DC4}"/>
              </a:ext>
            </a:extLst>
          </p:cNvPr>
          <p:cNvSpPr/>
          <p:nvPr userDrawn="1"/>
        </p:nvSpPr>
        <p:spPr>
          <a:xfrm rot="18507922">
            <a:off x="7807091" y="3217154"/>
            <a:ext cx="2953576" cy="2291635"/>
          </a:xfrm>
          <a:custGeom>
            <a:avLst/>
            <a:gdLst>
              <a:gd name="connsiteX0" fmla="*/ 3889232 w 4244988"/>
              <a:gd name="connsiteY0" fmla="*/ 612826 h 3293622"/>
              <a:gd name="connsiteX1" fmla="*/ 3617977 w 4244988"/>
              <a:gd name="connsiteY1" fmla="*/ 2928481 h 3293622"/>
              <a:gd name="connsiteX2" fmla="*/ 1299683 w 4244988"/>
              <a:gd name="connsiteY2" fmla="*/ 2680796 h 3293622"/>
              <a:gd name="connsiteX3" fmla="*/ 1224707 w 4244988"/>
              <a:gd name="connsiteY3" fmla="*/ 2579169 h 3293622"/>
              <a:gd name="connsiteX4" fmla="*/ 1163631 w 4244988"/>
              <a:gd name="connsiteY4" fmla="*/ 2481534 h 3293622"/>
              <a:gd name="connsiteX5" fmla="*/ 1162772 w 4244988"/>
              <a:gd name="connsiteY5" fmla="*/ 2482220 h 3293622"/>
              <a:gd name="connsiteX6" fmla="*/ 1066262 w 4244988"/>
              <a:gd name="connsiteY6" fmla="*/ 2329542 h 3293622"/>
              <a:gd name="connsiteX7" fmla="*/ 303465 w 4244988"/>
              <a:gd name="connsiteY7" fmla="*/ 1782295 h 3293622"/>
              <a:gd name="connsiteX8" fmla="*/ 160860 w 4244988"/>
              <a:gd name="connsiteY8" fmla="*/ 1769870 h 3293622"/>
              <a:gd name="connsiteX9" fmla="*/ 160172 w 4244988"/>
              <a:gd name="connsiteY9" fmla="*/ 1769009 h 3293622"/>
              <a:gd name="connsiteX10" fmla="*/ 106474 w 4244988"/>
              <a:gd name="connsiteY10" fmla="*/ 1769009 h 3293622"/>
              <a:gd name="connsiteX11" fmla="*/ 100125 w 4244988"/>
              <a:gd name="connsiteY11" fmla="*/ 1769873 h 3293622"/>
              <a:gd name="connsiteX12" fmla="*/ 21932 w 4244988"/>
              <a:gd name="connsiteY12" fmla="*/ 1732067 h 3293622"/>
              <a:gd name="connsiteX13" fmla="*/ 12753 w 4244988"/>
              <a:gd name="connsiteY13" fmla="*/ 1619690 h 3293622"/>
              <a:gd name="connsiteX14" fmla="*/ 29905 w 4244988"/>
              <a:gd name="connsiteY14" fmla="*/ 1599352 h 3293622"/>
              <a:gd name="connsiteX15" fmla="*/ 28165 w 4244988"/>
              <a:gd name="connsiteY15" fmla="*/ 1597173 h 3293622"/>
              <a:gd name="connsiteX16" fmla="*/ 39122 w 4244988"/>
              <a:gd name="connsiteY16" fmla="*/ 1588423 h 3293622"/>
              <a:gd name="connsiteX17" fmla="*/ 39125 w 4244988"/>
              <a:gd name="connsiteY17" fmla="*/ 1588420 h 3293622"/>
              <a:gd name="connsiteX18" fmla="*/ 39130 w 4244988"/>
              <a:gd name="connsiteY18" fmla="*/ 1588417 h 3293622"/>
              <a:gd name="connsiteX19" fmla="*/ 1570938 w 4244988"/>
              <a:gd name="connsiteY19" fmla="*/ 365142 h 3293622"/>
              <a:gd name="connsiteX20" fmla="*/ 1602119 w 4244988"/>
              <a:gd name="connsiteY20" fmla="*/ 340241 h 3293622"/>
              <a:gd name="connsiteX21" fmla="*/ 1603364 w 4244988"/>
              <a:gd name="connsiteY21" fmla="*/ 341800 h 3293622"/>
              <a:gd name="connsiteX22" fmla="*/ 1708605 w 4244988"/>
              <a:gd name="connsiteY22" fmla="*/ 266040 h 3293622"/>
              <a:gd name="connsiteX23" fmla="*/ 3889232 w 4244988"/>
              <a:gd name="connsiteY23" fmla="*/ 612826 h 32936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4244988" h="3293622">
                <a:moveTo>
                  <a:pt x="3889232" y="612826"/>
                </a:moveTo>
                <a:cubicBezTo>
                  <a:pt x="4454506" y="1320673"/>
                  <a:pt x="4333061" y="2357427"/>
                  <a:pt x="3617977" y="2928481"/>
                </a:cubicBezTo>
                <a:cubicBezTo>
                  <a:pt x="2902892" y="3499535"/>
                  <a:pt x="1864957" y="3388643"/>
                  <a:pt x="1299683" y="2680796"/>
                </a:cubicBezTo>
                <a:cubicBezTo>
                  <a:pt x="1273185" y="2647616"/>
                  <a:pt x="1248197" y="2613713"/>
                  <a:pt x="1224707" y="2579169"/>
                </a:cubicBezTo>
                <a:lnTo>
                  <a:pt x="1163631" y="2481534"/>
                </a:lnTo>
                <a:lnTo>
                  <a:pt x="1162772" y="2482220"/>
                </a:lnTo>
                <a:lnTo>
                  <a:pt x="1066262" y="2329542"/>
                </a:lnTo>
                <a:cubicBezTo>
                  <a:pt x="848799" y="2029269"/>
                  <a:pt x="561714" y="1833589"/>
                  <a:pt x="303465" y="1782295"/>
                </a:cubicBezTo>
                <a:lnTo>
                  <a:pt x="160860" y="1769870"/>
                </a:lnTo>
                <a:lnTo>
                  <a:pt x="160172" y="1769009"/>
                </a:lnTo>
                <a:lnTo>
                  <a:pt x="106474" y="1769009"/>
                </a:lnTo>
                <a:lnTo>
                  <a:pt x="100125" y="1769873"/>
                </a:lnTo>
                <a:cubicBezTo>
                  <a:pt x="70606" y="1769618"/>
                  <a:pt x="41612" y="1756710"/>
                  <a:pt x="21932" y="1732067"/>
                </a:cubicBezTo>
                <a:cubicBezTo>
                  <a:pt x="-4308" y="1699209"/>
                  <a:pt x="-6539" y="1654818"/>
                  <a:pt x="12753" y="1619690"/>
                </a:cubicBezTo>
                <a:lnTo>
                  <a:pt x="29905" y="1599352"/>
                </a:lnTo>
                <a:lnTo>
                  <a:pt x="28165" y="1597173"/>
                </a:lnTo>
                <a:lnTo>
                  <a:pt x="39122" y="1588423"/>
                </a:lnTo>
                <a:lnTo>
                  <a:pt x="39125" y="1588420"/>
                </a:lnTo>
                <a:lnTo>
                  <a:pt x="39130" y="1588417"/>
                </a:lnTo>
                <a:lnTo>
                  <a:pt x="1570938" y="365142"/>
                </a:lnTo>
                <a:lnTo>
                  <a:pt x="1602119" y="340241"/>
                </a:lnTo>
                <a:lnTo>
                  <a:pt x="1603364" y="341800"/>
                </a:lnTo>
                <a:lnTo>
                  <a:pt x="1708605" y="266040"/>
                </a:lnTo>
                <a:cubicBezTo>
                  <a:pt x="2413918" y="-189719"/>
                  <a:pt x="3359287" y="-50780"/>
                  <a:pt x="3889232" y="612826"/>
                </a:cubicBezTo>
                <a:close/>
              </a:path>
            </a:pathLst>
          </a:custGeom>
          <a:noFill/>
          <a:ln w="139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err="1"/>
          </a:p>
        </p:txBody>
      </p:sp>
    </p:spTree>
    <p:extLst>
      <p:ext uri="{BB962C8B-B14F-4D97-AF65-F5344CB8AC3E}">
        <p14:creationId xmlns:p14="http://schemas.microsoft.com/office/powerpoint/2010/main" val="362112992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rows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46A8118-DEFD-9B48-874D-343FF4761234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err="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276A7AB-D3C2-A546-8E4A-E1A3F6153298}"/>
              </a:ext>
            </a:extLst>
          </p:cNvPr>
          <p:cNvSpPr/>
          <p:nvPr userDrawn="1"/>
        </p:nvSpPr>
        <p:spPr>
          <a:xfrm>
            <a:off x="892" y="115888"/>
            <a:ext cx="12191108" cy="619283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BBB27731-5616-CA40-A0F6-B2095EF3F79F}"/>
              </a:ext>
            </a:extLst>
          </p:cNvPr>
          <p:cNvSpPr txBox="1">
            <a:spLocks/>
          </p:cNvSpPr>
          <p:nvPr userDrawn="1"/>
        </p:nvSpPr>
        <p:spPr>
          <a:xfrm>
            <a:off x="11369993" y="6456998"/>
            <a:ext cx="271144" cy="17526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sv-SE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F2B5CF4-79E2-4BCE-8F81-53ED60D4893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8741E6F-A7DD-0C48-9CFC-53EED874BCBF}"/>
              </a:ext>
            </a:extLst>
          </p:cNvPr>
          <p:cNvCxnSpPr/>
          <p:nvPr userDrawn="1"/>
        </p:nvCxnSpPr>
        <p:spPr>
          <a:xfrm flipH="1">
            <a:off x="11369993" y="6635115"/>
            <a:ext cx="27114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911AA38-1307-5747-9B98-3B6FC8E017BC}"/>
              </a:ext>
            </a:extLst>
          </p:cNvPr>
          <p:cNvCxnSpPr/>
          <p:nvPr userDrawn="1"/>
        </p:nvCxnSpPr>
        <p:spPr>
          <a:xfrm flipH="1">
            <a:off x="11369993" y="6442437"/>
            <a:ext cx="27114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C078398B-9B2E-C64C-BF46-F1D563CF254E}"/>
              </a:ext>
            </a:extLst>
          </p:cNvPr>
          <p:cNvSpPr txBox="1"/>
          <p:nvPr userDrawn="1"/>
        </p:nvSpPr>
        <p:spPr>
          <a:xfrm flipH="1">
            <a:off x="550863" y="6595778"/>
            <a:ext cx="1652387" cy="1077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400" cap="all" spc="80">
                <a:solidFill>
                  <a:schemeClr val="bg1"/>
                </a:solidFill>
              </a:rPr>
              <a:t>©</a:t>
            </a:r>
            <a:r>
              <a:rPr lang="en-US" sz="400" cap="all" spc="0" baseline="0">
                <a:solidFill>
                  <a:schemeClr val="bg1"/>
                </a:solidFill>
              </a:rPr>
              <a:t> </a:t>
            </a:r>
            <a:r>
              <a:rPr lang="en-US" sz="400" cap="all" spc="80">
                <a:solidFill>
                  <a:schemeClr val="bg1"/>
                </a:solidFill>
              </a:rPr>
              <a:t>Oriflame Cosmetics</a:t>
            </a:r>
            <a:r>
              <a:rPr lang="en-US" sz="400" cap="all" spc="80" baseline="0">
                <a:solidFill>
                  <a:schemeClr val="bg1"/>
                </a:solidFill>
              </a:rPr>
              <a:t> AG,2023</a:t>
            </a:r>
            <a:endParaRPr lang="en-US" sz="1600" cap="all" spc="80">
              <a:solidFill>
                <a:schemeClr val="bg1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50863" y="949234"/>
            <a:ext cx="7216621" cy="4784816"/>
          </a:xfrm>
        </p:spPr>
        <p:txBody>
          <a:bodyPr anchor="ctr">
            <a:noAutofit/>
          </a:bodyPr>
          <a:lstStyle>
            <a:lvl1pPr algn="l">
              <a:defRPr sz="5300" b="0" baseline="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member that this page should maximum be on three rows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98B4CFC5-602B-3445-9A23-87D105E8544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87908" y="6299505"/>
            <a:ext cx="1422989" cy="491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444995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rows (white) + grap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46A8118-DEFD-9B48-874D-343FF4761234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err="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276A7AB-D3C2-A546-8E4A-E1A3F6153298}"/>
              </a:ext>
            </a:extLst>
          </p:cNvPr>
          <p:cNvSpPr/>
          <p:nvPr userDrawn="1"/>
        </p:nvSpPr>
        <p:spPr>
          <a:xfrm>
            <a:off x="892" y="115888"/>
            <a:ext cx="12191108" cy="619283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BBB27731-5616-CA40-A0F6-B2095EF3F79F}"/>
              </a:ext>
            </a:extLst>
          </p:cNvPr>
          <p:cNvSpPr txBox="1">
            <a:spLocks/>
          </p:cNvSpPr>
          <p:nvPr userDrawn="1"/>
        </p:nvSpPr>
        <p:spPr>
          <a:xfrm>
            <a:off x="11369993" y="6456998"/>
            <a:ext cx="271144" cy="17526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sv-SE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F2B5CF4-79E2-4BCE-8F81-53ED60D4893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8741E6F-A7DD-0C48-9CFC-53EED874BCBF}"/>
              </a:ext>
            </a:extLst>
          </p:cNvPr>
          <p:cNvCxnSpPr/>
          <p:nvPr userDrawn="1"/>
        </p:nvCxnSpPr>
        <p:spPr>
          <a:xfrm flipH="1">
            <a:off x="11369993" y="6635115"/>
            <a:ext cx="27114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911AA38-1307-5747-9B98-3B6FC8E017BC}"/>
              </a:ext>
            </a:extLst>
          </p:cNvPr>
          <p:cNvCxnSpPr/>
          <p:nvPr userDrawn="1"/>
        </p:nvCxnSpPr>
        <p:spPr>
          <a:xfrm flipH="1">
            <a:off x="11369993" y="6442437"/>
            <a:ext cx="27114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C078398B-9B2E-C64C-BF46-F1D563CF254E}"/>
              </a:ext>
            </a:extLst>
          </p:cNvPr>
          <p:cNvSpPr txBox="1"/>
          <p:nvPr userDrawn="1"/>
        </p:nvSpPr>
        <p:spPr>
          <a:xfrm flipH="1">
            <a:off x="550863" y="6595778"/>
            <a:ext cx="1652387" cy="1077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400" cap="all" spc="80">
                <a:solidFill>
                  <a:schemeClr val="bg1"/>
                </a:solidFill>
              </a:rPr>
              <a:t>©</a:t>
            </a:r>
            <a:r>
              <a:rPr lang="en-US" sz="400" cap="all" spc="0" baseline="0">
                <a:solidFill>
                  <a:schemeClr val="bg1"/>
                </a:solidFill>
              </a:rPr>
              <a:t> </a:t>
            </a:r>
            <a:r>
              <a:rPr lang="en-US" sz="400" cap="all" spc="80">
                <a:solidFill>
                  <a:schemeClr val="bg1"/>
                </a:solidFill>
              </a:rPr>
              <a:t>Oriflame Cosmetics</a:t>
            </a:r>
            <a:r>
              <a:rPr lang="en-US" sz="400" cap="all" spc="80" baseline="0">
                <a:solidFill>
                  <a:schemeClr val="bg1"/>
                </a:solidFill>
              </a:rPr>
              <a:t> AG,2023</a:t>
            </a:r>
            <a:endParaRPr lang="en-US" sz="1600" cap="all" spc="80">
              <a:solidFill>
                <a:schemeClr val="bg1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50863" y="949234"/>
            <a:ext cx="7216621" cy="4784816"/>
          </a:xfrm>
        </p:spPr>
        <p:txBody>
          <a:bodyPr anchor="ctr">
            <a:noAutofit/>
          </a:bodyPr>
          <a:lstStyle>
            <a:lvl1pPr algn="l">
              <a:defRPr sz="5300" b="0" baseline="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Remember that this page should maximum be on three rows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18474A2-43DB-1244-B790-0F728C6C9B7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87908" y="6299505"/>
            <a:ext cx="1422989" cy="491798"/>
          </a:xfrm>
          <a:prstGeom prst="rect">
            <a:avLst/>
          </a:prstGeom>
        </p:spPr>
      </p:pic>
      <p:sp>
        <p:nvSpPr>
          <p:cNvPr id="3" name="Freeform 2">
            <a:extLst>
              <a:ext uri="{FF2B5EF4-FFF2-40B4-BE49-F238E27FC236}">
                <a16:creationId xmlns:a16="http://schemas.microsoft.com/office/drawing/2014/main" id="{033A4044-A775-7932-BF20-58389CD96767}"/>
              </a:ext>
            </a:extLst>
          </p:cNvPr>
          <p:cNvSpPr/>
          <p:nvPr userDrawn="1"/>
        </p:nvSpPr>
        <p:spPr>
          <a:xfrm rot="13877073" flipH="1">
            <a:off x="8471738" y="1084484"/>
            <a:ext cx="3179003" cy="2466540"/>
          </a:xfrm>
          <a:custGeom>
            <a:avLst/>
            <a:gdLst>
              <a:gd name="connsiteX0" fmla="*/ 3889232 w 4244988"/>
              <a:gd name="connsiteY0" fmla="*/ 612826 h 3293622"/>
              <a:gd name="connsiteX1" fmla="*/ 3617977 w 4244988"/>
              <a:gd name="connsiteY1" fmla="*/ 2928481 h 3293622"/>
              <a:gd name="connsiteX2" fmla="*/ 1299683 w 4244988"/>
              <a:gd name="connsiteY2" fmla="*/ 2680796 h 3293622"/>
              <a:gd name="connsiteX3" fmla="*/ 1224707 w 4244988"/>
              <a:gd name="connsiteY3" fmla="*/ 2579169 h 3293622"/>
              <a:gd name="connsiteX4" fmla="*/ 1163631 w 4244988"/>
              <a:gd name="connsiteY4" fmla="*/ 2481534 h 3293622"/>
              <a:gd name="connsiteX5" fmla="*/ 1162772 w 4244988"/>
              <a:gd name="connsiteY5" fmla="*/ 2482220 h 3293622"/>
              <a:gd name="connsiteX6" fmla="*/ 1066262 w 4244988"/>
              <a:gd name="connsiteY6" fmla="*/ 2329542 h 3293622"/>
              <a:gd name="connsiteX7" fmla="*/ 303465 w 4244988"/>
              <a:gd name="connsiteY7" fmla="*/ 1782295 h 3293622"/>
              <a:gd name="connsiteX8" fmla="*/ 160860 w 4244988"/>
              <a:gd name="connsiteY8" fmla="*/ 1769870 h 3293622"/>
              <a:gd name="connsiteX9" fmla="*/ 160172 w 4244988"/>
              <a:gd name="connsiteY9" fmla="*/ 1769009 h 3293622"/>
              <a:gd name="connsiteX10" fmla="*/ 106474 w 4244988"/>
              <a:gd name="connsiteY10" fmla="*/ 1769009 h 3293622"/>
              <a:gd name="connsiteX11" fmla="*/ 100125 w 4244988"/>
              <a:gd name="connsiteY11" fmla="*/ 1769873 h 3293622"/>
              <a:gd name="connsiteX12" fmla="*/ 21932 w 4244988"/>
              <a:gd name="connsiteY12" fmla="*/ 1732067 h 3293622"/>
              <a:gd name="connsiteX13" fmla="*/ 12753 w 4244988"/>
              <a:gd name="connsiteY13" fmla="*/ 1619690 h 3293622"/>
              <a:gd name="connsiteX14" fmla="*/ 29905 w 4244988"/>
              <a:gd name="connsiteY14" fmla="*/ 1599352 h 3293622"/>
              <a:gd name="connsiteX15" fmla="*/ 28165 w 4244988"/>
              <a:gd name="connsiteY15" fmla="*/ 1597173 h 3293622"/>
              <a:gd name="connsiteX16" fmla="*/ 39122 w 4244988"/>
              <a:gd name="connsiteY16" fmla="*/ 1588423 h 3293622"/>
              <a:gd name="connsiteX17" fmla="*/ 39125 w 4244988"/>
              <a:gd name="connsiteY17" fmla="*/ 1588420 h 3293622"/>
              <a:gd name="connsiteX18" fmla="*/ 39130 w 4244988"/>
              <a:gd name="connsiteY18" fmla="*/ 1588417 h 3293622"/>
              <a:gd name="connsiteX19" fmla="*/ 1570938 w 4244988"/>
              <a:gd name="connsiteY19" fmla="*/ 365142 h 3293622"/>
              <a:gd name="connsiteX20" fmla="*/ 1602119 w 4244988"/>
              <a:gd name="connsiteY20" fmla="*/ 340241 h 3293622"/>
              <a:gd name="connsiteX21" fmla="*/ 1603364 w 4244988"/>
              <a:gd name="connsiteY21" fmla="*/ 341800 h 3293622"/>
              <a:gd name="connsiteX22" fmla="*/ 1708605 w 4244988"/>
              <a:gd name="connsiteY22" fmla="*/ 266040 h 3293622"/>
              <a:gd name="connsiteX23" fmla="*/ 3889232 w 4244988"/>
              <a:gd name="connsiteY23" fmla="*/ 612826 h 32936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4244988" h="3293622">
                <a:moveTo>
                  <a:pt x="3889232" y="612826"/>
                </a:moveTo>
                <a:cubicBezTo>
                  <a:pt x="4454506" y="1320673"/>
                  <a:pt x="4333061" y="2357427"/>
                  <a:pt x="3617977" y="2928481"/>
                </a:cubicBezTo>
                <a:cubicBezTo>
                  <a:pt x="2902892" y="3499535"/>
                  <a:pt x="1864957" y="3388643"/>
                  <a:pt x="1299683" y="2680796"/>
                </a:cubicBezTo>
                <a:cubicBezTo>
                  <a:pt x="1273185" y="2647616"/>
                  <a:pt x="1248197" y="2613713"/>
                  <a:pt x="1224707" y="2579169"/>
                </a:cubicBezTo>
                <a:lnTo>
                  <a:pt x="1163631" y="2481534"/>
                </a:lnTo>
                <a:lnTo>
                  <a:pt x="1162772" y="2482220"/>
                </a:lnTo>
                <a:lnTo>
                  <a:pt x="1066262" y="2329542"/>
                </a:lnTo>
                <a:cubicBezTo>
                  <a:pt x="848799" y="2029269"/>
                  <a:pt x="561714" y="1833589"/>
                  <a:pt x="303465" y="1782295"/>
                </a:cubicBezTo>
                <a:lnTo>
                  <a:pt x="160860" y="1769870"/>
                </a:lnTo>
                <a:lnTo>
                  <a:pt x="160172" y="1769009"/>
                </a:lnTo>
                <a:lnTo>
                  <a:pt x="106474" y="1769009"/>
                </a:lnTo>
                <a:lnTo>
                  <a:pt x="100125" y="1769873"/>
                </a:lnTo>
                <a:cubicBezTo>
                  <a:pt x="70606" y="1769618"/>
                  <a:pt x="41612" y="1756710"/>
                  <a:pt x="21932" y="1732067"/>
                </a:cubicBezTo>
                <a:cubicBezTo>
                  <a:pt x="-4308" y="1699209"/>
                  <a:pt x="-6539" y="1654818"/>
                  <a:pt x="12753" y="1619690"/>
                </a:cubicBezTo>
                <a:lnTo>
                  <a:pt x="29905" y="1599352"/>
                </a:lnTo>
                <a:lnTo>
                  <a:pt x="28165" y="1597173"/>
                </a:lnTo>
                <a:lnTo>
                  <a:pt x="39122" y="1588423"/>
                </a:lnTo>
                <a:lnTo>
                  <a:pt x="39125" y="1588420"/>
                </a:lnTo>
                <a:lnTo>
                  <a:pt x="39130" y="1588417"/>
                </a:lnTo>
                <a:lnTo>
                  <a:pt x="1570938" y="365142"/>
                </a:lnTo>
                <a:lnTo>
                  <a:pt x="1602119" y="340241"/>
                </a:lnTo>
                <a:lnTo>
                  <a:pt x="1603364" y="341800"/>
                </a:lnTo>
                <a:lnTo>
                  <a:pt x="1708605" y="266040"/>
                </a:lnTo>
                <a:cubicBezTo>
                  <a:pt x="2413918" y="-189719"/>
                  <a:pt x="3359287" y="-50780"/>
                  <a:pt x="3889232" y="612826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err="1"/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78DDA7A1-B7AA-62C0-C447-A26BC68F3968}"/>
              </a:ext>
            </a:extLst>
          </p:cNvPr>
          <p:cNvSpPr/>
          <p:nvPr userDrawn="1"/>
        </p:nvSpPr>
        <p:spPr>
          <a:xfrm rot="18507922">
            <a:off x="7807091" y="3217154"/>
            <a:ext cx="2953576" cy="2291635"/>
          </a:xfrm>
          <a:custGeom>
            <a:avLst/>
            <a:gdLst>
              <a:gd name="connsiteX0" fmla="*/ 3889232 w 4244988"/>
              <a:gd name="connsiteY0" fmla="*/ 612826 h 3293622"/>
              <a:gd name="connsiteX1" fmla="*/ 3617977 w 4244988"/>
              <a:gd name="connsiteY1" fmla="*/ 2928481 h 3293622"/>
              <a:gd name="connsiteX2" fmla="*/ 1299683 w 4244988"/>
              <a:gd name="connsiteY2" fmla="*/ 2680796 h 3293622"/>
              <a:gd name="connsiteX3" fmla="*/ 1224707 w 4244988"/>
              <a:gd name="connsiteY3" fmla="*/ 2579169 h 3293622"/>
              <a:gd name="connsiteX4" fmla="*/ 1163631 w 4244988"/>
              <a:gd name="connsiteY4" fmla="*/ 2481534 h 3293622"/>
              <a:gd name="connsiteX5" fmla="*/ 1162772 w 4244988"/>
              <a:gd name="connsiteY5" fmla="*/ 2482220 h 3293622"/>
              <a:gd name="connsiteX6" fmla="*/ 1066262 w 4244988"/>
              <a:gd name="connsiteY6" fmla="*/ 2329542 h 3293622"/>
              <a:gd name="connsiteX7" fmla="*/ 303465 w 4244988"/>
              <a:gd name="connsiteY7" fmla="*/ 1782295 h 3293622"/>
              <a:gd name="connsiteX8" fmla="*/ 160860 w 4244988"/>
              <a:gd name="connsiteY8" fmla="*/ 1769870 h 3293622"/>
              <a:gd name="connsiteX9" fmla="*/ 160172 w 4244988"/>
              <a:gd name="connsiteY9" fmla="*/ 1769009 h 3293622"/>
              <a:gd name="connsiteX10" fmla="*/ 106474 w 4244988"/>
              <a:gd name="connsiteY10" fmla="*/ 1769009 h 3293622"/>
              <a:gd name="connsiteX11" fmla="*/ 100125 w 4244988"/>
              <a:gd name="connsiteY11" fmla="*/ 1769873 h 3293622"/>
              <a:gd name="connsiteX12" fmla="*/ 21932 w 4244988"/>
              <a:gd name="connsiteY12" fmla="*/ 1732067 h 3293622"/>
              <a:gd name="connsiteX13" fmla="*/ 12753 w 4244988"/>
              <a:gd name="connsiteY13" fmla="*/ 1619690 h 3293622"/>
              <a:gd name="connsiteX14" fmla="*/ 29905 w 4244988"/>
              <a:gd name="connsiteY14" fmla="*/ 1599352 h 3293622"/>
              <a:gd name="connsiteX15" fmla="*/ 28165 w 4244988"/>
              <a:gd name="connsiteY15" fmla="*/ 1597173 h 3293622"/>
              <a:gd name="connsiteX16" fmla="*/ 39122 w 4244988"/>
              <a:gd name="connsiteY16" fmla="*/ 1588423 h 3293622"/>
              <a:gd name="connsiteX17" fmla="*/ 39125 w 4244988"/>
              <a:gd name="connsiteY17" fmla="*/ 1588420 h 3293622"/>
              <a:gd name="connsiteX18" fmla="*/ 39130 w 4244988"/>
              <a:gd name="connsiteY18" fmla="*/ 1588417 h 3293622"/>
              <a:gd name="connsiteX19" fmla="*/ 1570938 w 4244988"/>
              <a:gd name="connsiteY19" fmla="*/ 365142 h 3293622"/>
              <a:gd name="connsiteX20" fmla="*/ 1602119 w 4244988"/>
              <a:gd name="connsiteY20" fmla="*/ 340241 h 3293622"/>
              <a:gd name="connsiteX21" fmla="*/ 1603364 w 4244988"/>
              <a:gd name="connsiteY21" fmla="*/ 341800 h 3293622"/>
              <a:gd name="connsiteX22" fmla="*/ 1708605 w 4244988"/>
              <a:gd name="connsiteY22" fmla="*/ 266040 h 3293622"/>
              <a:gd name="connsiteX23" fmla="*/ 3889232 w 4244988"/>
              <a:gd name="connsiteY23" fmla="*/ 612826 h 32936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4244988" h="3293622">
                <a:moveTo>
                  <a:pt x="3889232" y="612826"/>
                </a:moveTo>
                <a:cubicBezTo>
                  <a:pt x="4454506" y="1320673"/>
                  <a:pt x="4333061" y="2357427"/>
                  <a:pt x="3617977" y="2928481"/>
                </a:cubicBezTo>
                <a:cubicBezTo>
                  <a:pt x="2902892" y="3499535"/>
                  <a:pt x="1864957" y="3388643"/>
                  <a:pt x="1299683" y="2680796"/>
                </a:cubicBezTo>
                <a:cubicBezTo>
                  <a:pt x="1273185" y="2647616"/>
                  <a:pt x="1248197" y="2613713"/>
                  <a:pt x="1224707" y="2579169"/>
                </a:cubicBezTo>
                <a:lnTo>
                  <a:pt x="1163631" y="2481534"/>
                </a:lnTo>
                <a:lnTo>
                  <a:pt x="1162772" y="2482220"/>
                </a:lnTo>
                <a:lnTo>
                  <a:pt x="1066262" y="2329542"/>
                </a:lnTo>
                <a:cubicBezTo>
                  <a:pt x="848799" y="2029269"/>
                  <a:pt x="561714" y="1833589"/>
                  <a:pt x="303465" y="1782295"/>
                </a:cubicBezTo>
                <a:lnTo>
                  <a:pt x="160860" y="1769870"/>
                </a:lnTo>
                <a:lnTo>
                  <a:pt x="160172" y="1769009"/>
                </a:lnTo>
                <a:lnTo>
                  <a:pt x="106474" y="1769009"/>
                </a:lnTo>
                <a:lnTo>
                  <a:pt x="100125" y="1769873"/>
                </a:lnTo>
                <a:cubicBezTo>
                  <a:pt x="70606" y="1769618"/>
                  <a:pt x="41612" y="1756710"/>
                  <a:pt x="21932" y="1732067"/>
                </a:cubicBezTo>
                <a:cubicBezTo>
                  <a:pt x="-4308" y="1699209"/>
                  <a:pt x="-6539" y="1654818"/>
                  <a:pt x="12753" y="1619690"/>
                </a:cubicBezTo>
                <a:lnTo>
                  <a:pt x="29905" y="1599352"/>
                </a:lnTo>
                <a:lnTo>
                  <a:pt x="28165" y="1597173"/>
                </a:lnTo>
                <a:lnTo>
                  <a:pt x="39122" y="1588423"/>
                </a:lnTo>
                <a:lnTo>
                  <a:pt x="39125" y="1588420"/>
                </a:lnTo>
                <a:lnTo>
                  <a:pt x="39130" y="1588417"/>
                </a:lnTo>
                <a:lnTo>
                  <a:pt x="1570938" y="365142"/>
                </a:lnTo>
                <a:lnTo>
                  <a:pt x="1602119" y="340241"/>
                </a:lnTo>
                <a:lnTo>
                  <a:pt x="1603364" y="341800"/>
                </a:lnTo>
                <a:lnTo>
                  <a:pt x="1708605" y="266040"/>
                </a:lnTo>
                <a:cubicBezTo>
                  <a:pt x="2413918" y="-189719"/>
                  <a:pt x="3359287" y="-50780"/>
                  <a:pt x="3889232" y="612826"/>
                </a:cubicBezTo>
                <a:close/>
              </a:path>
            </a:pathLst>
          </a:custGeom>
          <a:noFill/>
          <a:ln w="139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err="1"/>
          </a:p>
        </p:txBody>
      </p:sp>
    </p:spTree>
    <p:extLst>
      <p:ext uri="{BB962C8B-B14F-4D97-AF65-F5344CB8AC3E}">
        <p14:creationId xmlns:p14="http://schemas.microsoft.com/office/powerpoint/2010/main" val="36006322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 page – short title, anima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122683E-5468-514C-BCB5-D3D3718898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73256"/>
            <a:ext cx="8112124" cy="6584744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E8A2DF4A-A164-F647-AD86-68A50D3EB7C6}"/>
              </a:ext>
            </a:extLst>
          </p:cNvPr>
          <p:cNvSpPr/>
          <p:nvPr userDrawn="1"/>
        </p:nvSpPr>
        <p:spPr>
          <a:xfrm>
            <a:off x="8112125" y="0"/>
            <a:ext cx="4079875" cy="57340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err="1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44694" y="5985530"/>
            <a:ext cx="2022613" cy="380437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F55D29AC-BBE0-5740-96B3-640A6717E77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512639" y="1791131"/>
            <a:ext cx="3278952" cy="2090757"/>
          </a:xfrm>
        </p:spPr>
        <p:txBody>
          <a:bodyPr anchor="b">
            <a:noAutofit/>
          </a:bodyPr>
          <a:lstStyle>
            <a:lvl1pPr algn="ctr">
              <a:defRPr sz="4500" spc="-15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Title of your presentation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282E55A2-B11A-2E42-AA77-90E93C114C6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512881" y="4029084"/>
            <a:ext cx="3298119" cy="1421358"/>
          </a:xfrm>
        </p:spPr>
        <p:txBody>
          <a:bodyPr>
            <a:noAutofit/>
          </a:bodyPr>
          <a:lstStyle>
            <a:lvl1pPr marL="0" indent="0" algn="ctr">
              <a:buNone/>
              <a:defRPr sz="1800" kern="2000" spc="1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Sub tit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E14967B-07CB-48AB-05C6-D480D9C1709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26757" y="400606"/>
            <a:ext cx="2250610" cy="1265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026100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row (purp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50864" y="949234"/>
            <a:ext cx="9254874" cy="4784816"/>
          </a:xfrm>
        </p:spPr>
        <p:txBody>
          <a:bodyPr anchor="ctr">
            <a:noAutofit/>
          </a:bodyPr>
          <a:lstStyle>
            <a:lvl1pPr algn="l">
              <a:defRPr sz="10600" b="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Only one row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F2B5CF4-79E2-4BCE-8F81-53ED60D4893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56544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row (purple) + grap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50864" y="949234"/>
            <a:ext cx="9266904" cy="4784816"/>
          </a:xfrm>
        </p:spPr>
        <p:txBody>
          <a:bodyPr anchor="ctr">
            <a:noAutofit/>
          </a:bodyPr>
          <a:lstStyle>
            <a:lvl1pPr algn="l">
              <a:defRPr sz="10600" b="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Only one row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F2B5CF4-79E2-4BCE-8F81-53ED60D489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Freeform 2">
            <a:extLst>
              <a:ext uri="{FF2B5EF4-FFF2-40B4-BE49-F238E27FC236}">
                <a16:creationId xmlns:a16="http://schemas.microsoft.com/office/drawing/2014/main" id="{63571E84-17BB-B393-C871-7B1EEF9F288A}"/>
              </a:ext>
            </a:extLst>
          </p:cNvPr>
          <p:cNvSpPr/>
          <p:nvPr userDrawn="1"/>
        </p:nvSpPr>
        <p:spPr>
          <a:xfrm rot="14461010">
            <a:off x="10812632" y="2607728"/>
            <a:ext cx="5597222" cy="4342799"/>
          </a:xfrm>
          <a:custGeom>
            <a:avLst/>
            <a:gdLst>
              <a:gd name="connsiteX0" fmla="*/ 3889232 w 4244988"/>
              <a:gd name="connsiteY0" fmla="*/ 612826 h 3293622"/>
              <a:gd name="connsiteX1" fmla="*/ 3617977 w 4244988"/>
              <a:gd name="connsiteY1" fmla="*/ 2928481 h 3293622"/>
              <a:gd name="connsiteX2" fmla="*/ 1299683 w 4244988"/>
              <a:gd name="connsiteY2" fmla="*/ 2680796 h 3293622"/>
              <a:gd name="connsiteX3" fmla="*/ 1224707 w 4244988"/>
              <a:gd name="connsiteY3" fmla="*/ 2579169 h 3293622"/>
              <a:gd name="connsiteX4" fmla="*/ 1163631 w 4244988"/>
              <a:gd name="connsiteY4" fmla="*/ 2481534 h 3293622"/>
              <a:gd name="connsiteX5" fmla="*/ 1162772 w 4244988"/>
              <a:gd name="connsiteY5" fmla="*/ 2482220 h 3293622"/>
              <a:gd name="connsiteX6" fmla="*/ 1066262 w 4244988"/>
              <a:gd name="connsiteY6" fmla="*/ 2329542 h 3293622"/>
              <a:gd name="connsiteX7" fmla="*/ 303465 w 4244988"/>
              <a:gd name="connsiteY7" fmla="*/ 1782295 h 3293622"/>
              <a:gd name="connsiteX8" fmla="*/ 160860 w 4244988"/>
              <a:gd name="connsiteY8" fmla="*/ 1769870 h 3293622"/>
              <a:gd name="connsiteX9" fmla="*/ 160172 w 4244988"/>
              <a:gd name="connsiteY9" fmla="*/ 1769009 h 3293622"/>
              <a:gd name="connsiteX10" fmla="*/ 106474 w 4244988"/>
              <a:gd name="connsiteY10" fmla="*/ 1769009 h 3293622"/>
              <a:gd name="connsiteX11" fmla="*/ 100125 w 4244988"/>
              <a:gd name="connsiteY11" fmla="*/ 1769873 h 3293622"/>
              <a:gd name="connsiteX12" fmla="*/ 21932 w 4244988"/>
              <a:gd name="connsiteY12" fmla="*/ 1732067 h 3293622"/>
              <a:gd name="connsiteX13" fmla="*/ 12753 w 4244988"/>
              <a:gd name="connsiteY13" fmla="*/ 1619690 h 3293622"/>
              <a:gd name="connsiteX14" fmla="*/ 29905 w 4244988"/>
              <a:gd name="connsiteY14" fmla="*/ 1599352 h 3293622"/>
              <a:gd name="connsiteX15" fmla="*/ 28165 w 4244988"/>
              <a:gd name="connsiteY15" fmla="*/ 1597173 h 3293622"/>
              <a:gd name="connsiteX16" fmla="*/ 39122 w 4244988"/>
              <a:gd name="connsiteY16" fmla="*/ 1588423 h 3293622"/>
              <a:gd name="connsiteX17" fmla="*/ 39125 w 4244988"/>
              <a:gd name="connsiteY17" fmla="*/ 1588420 h 3293622"/>
              <a:gd name="connsiteX18" fmla="*/ 39130 w 4244988"/>
              <a:gd name="connsiteY18" fmla="*/ 1588417 h 3293622"/>
              <a:gd name="connsiteX19" fmla="*/ 1570938 w 4244988"/>
              <a:gd name="connsiteY19" fmla="*/ 365142 h 3293622"/>
              <a:gd name="connsiteX20" fmla="*/ 1602119 w 4244988"/>
              <a:gd name="connsiteY20" fmla="*/ 340241 h 3293622"/>
              <a:gd name="connsiteX21" fmla="*/ 1603364 w 4244988"/>
              <a:gd name="connsiteY21" fmla="*/ 341800 h 3293622"/>
              <a:gd name="connsiteX22" fmla="*/ 1708605 w 4244988"/>
              <a:gd name="connsiteY22" fmla="*/ 266040 h 3293622"/>
              <a:gd name="connsiteX23" fmla="*/ 3889232 w 4244988"/>
              <a:gd name="connsiteY23" fmla="*/ 612826 h 32936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4244988" h="3293622">
                <a:moveTo>
                  <a:pt x="3889232" y="612826"/>
                </a:moveTo>
                <a:cubicBezTo>
                  <a:pt x="4454506" y="1320673"/>
                  <a:pt x="4333061" y="2357427"/>
                  <a:pt x="3617977" y="2928481"/>
                </a:cubicBezTo>
                <a:cubicBezTo>
                  <a:pt x="2902892" y="3499535"/>
                  <a:pt x="1864957" y="3388643"/>
                  <a:pt x="1299683" y="2680796"/>
                </a:cubicBezTo>
                <a:cubicBezTo>
                  <a:pt x="1273185" y="2647616"/>
                  <a:pt x="1248197" y="2613713"/>
                  <a:pt x="1224707" y="2579169"/>
                </a:cubicBezTo>
                <a:lnTo>
                  <a:pt x="1163631" y="2481534"/>
                </a:lnTo>
                <a:lnTo>
                  <a:pt x="1162772" y="2482220"/>
                </a:lnTo>
                <a:lnTo>
                  <a:pt x="1066262" y="2329542"/>
                </a:lnTo>
                <a:cubicBezTo>
                  <a:pt x="848799" y="2029269"/>
                  <a:pt x="561714" y="1833589"/>
                  <a:pt x="303465" y="1782295"/>
                </a:cubicBezTo>
                <a:lnTo>
                  <a:pt x="160860" y="1769870"/>
                </a:lnTo>
                <a:lnTo>
                  <a:pt x="160172" y="1769009"/>
                </a:lnTo>
                <a:lnTo>
                  <a:pt x="106474" y="1769009"/>
                </a:lnTo>
                <a:lnTo>
                  <a:pt x="100125" y="1769873"/>
                </a:lnTo>
                <a:cubicBezTo>
                  <a:pt x="70606" y="1769618"/>
                  <a:pt x="41612" y="1756710"/>
                  <a:pt x="21932" y="1732067"/>
                </a:cubicBezTo>
                <a:cubicBezTo>
                  <a:pt x="-4308" y="1699209"/>
                  <a:pt x="-6539" y="1654818"/>
                  <a:pt x="12753" y="1619690"/>
                </a:cubicBezTo>
                <a:lnTo>
                  <a:pt x="29905" y="1599352"/>
                </a:lnTo>
                <a:lnTo>
                  <a:pt x="28165" y="1597173"/>
                </a:lnTo>
                <a:lnTo>
                  <a:pt x="39122" y="1588423"/>
                </a:lnTo>
                <a:lnTo>
                  <a:pt x="39125" y="1588420"/>
                </a:lnTo>
                <a:lnTo>
                  <a:pt x="39130" y="1588417"/>
                </a:lnTo>
                <a:lnTo>
                  <a:pt x="1570938" y="365142"/>
                </a:lnTo>
                <a:lnTo>
                  <a:pt x="1602119" y="340241"/>
                </a:lnTo>
                <a:lnTo>
                  <a:pt x="1603364" y="341800"/>
                </a:lnTo>
                <a:lnTo>
                  <a:pt x="1708605" y="266040"/>
                </a:lnTo>
                <a:cubicBezTo>
                  <a:pt x="2413918" y="-189719"/>
                  <a:pt x="3359287" y="-50780"/>
                  <a:pt x="3889232" y="612826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err="1"/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6986247C-CDA5-AB77-955D-3395B6BF9BC7}"/>
              </a:ext>
            </a:extLst>
          </p:cNvPr>
          <p:cNvSpPr/>
          <p:nvPr userDrawn="1"/>
        </p:nvSpPr>
        <p:spPr>
          <a:xfrm rot="13400277">
            <a:off x="9668374" y="5178246"/>
            <a:ext cx="5597222" cy="4342799"/>
          </a:xfrm>
          <a:custGeom>
            <a:avLst/>
            <a:gdLst>
              <a:gd name="connsiteX0" fmla="*/ 3889232 w 4244988"/>
              <a:gd name="connsiteY0" fmla="*/ 612826 h 3293622"/>
              <a:gd name="connsiteX1" fmla="*/ 3617977 w 4244988"/>
              <a:gd name="connsiteY1" fmla="*/ 2928481 h 3293622"/>
              <a:gd name="connsiteX2" fmla="*/ 1299683 w 4244988"/>
              <a:gd name="connsiteY2" fmla="*/ 2680796 h 3293622"/>
              <a:gd name="connsiteX3" fmla="*/ 1224707 w 4244988"/>
              <a:gd name="connsiteY3" fmla="*/ 2579169 h 3293622"/>
              <a:gd name="connsiteX4" fmla="*/ 1163631 w 4244988"/>
              <a:gd name="connsiteY4" fmla="*/ 2481534 h 3293622"/>
              <a:gd name="connsiteX5" fmla="*/ 1162772 w 4244988"/>
              <a:gd name="connsiteY5" fmla="*/ 2482220 h 3293622"/>
              <a:gd name="connsiteX6" fmla="*/ 1066262 w 4244988"/>
              <a:gd name="connsiteY6" fmla="*/ 2329542 h 3293622"/>
              <a:gd name="connsiteX7" fmla="*/ 303465 w 4244988"/>
              <a:gd name="connsiteY7" fmla="*/ 1782295 h 3293622"/>
              <a:gd name="connsiteX8" fmla="*/ 160860 w 4244988"/>
              <a:gd name="connsiteY8" fmla="*/ 1769870 h 3293622"/>
              <a:gd name="connsiteX9" fmla="*/ 160172 w 4244988"/>
              <a:gd name="connsiteY9" fmla="*/ 1769009 h 3293622"/>
              <a:gd name="connsiteX10" fmla="*/ 106474 w 4244988"/>
              <a:gd name="connsiteY10" fmla="*/ 1769009 h 3293622"/>
              <a:gd name="connsiteX11" fmla="*/ 100125 w 4244988"/>
              <a:gd name="connsiteY11" fmla="*/ 1769873 h 3293622"/>
              <a:gd name="connsiteX12" fmla="*/ 21932 w 4244988"/>
              <a:gd name="connsiteY12" fmla="*/ 1732067 h 3293622"/>
              <a:gd name="connsiteX13" fmla="*/ 12753 w 4244988"/>
              <a:gd name="connsiteY13" fmla="*/ 1619690 h 3293622"/>
              <a:gd name="connsiteX14" fmla="*/ 29905 w 4244988"/>
              <a:gd name="connsiteY14" fmla="*/ 1599352 h 3293622"/>
              <a:gd name="connsiteX15" fmla="*/ 28165 w 4244988"/>
              <a:gd name="connsiteY15" fmla="*/ 1597173 h 3293622"/>
              <a:gd name="connsiteX16" fmla="*/ 39122 w 4244988"/>
              <a:gd name="connsiteY16" fmla="*/ 1588423 h 3293622"/>
              <a:gd name="connsiteX17" fmla="*/ 39125 w 4244988"/>
              <a:gd name="connsiteY17" fmla="*/ 1588420 h 3293622"/>
              <a:gd name="connsiteX18" fmla="*/ 39130 w 4244988"/>
              <a:gd name="connsiteY18" fmla="*/ 1588417 h 3293622"/>
              <a:gd name="connsiteX19" fmla="*/ 1570938 w 4244988"/>
              <a:gd name="connsiteY19" fmla="*/ 365142 h 3293622"/>
              <a:gd name="connsiteX20" fmla="*/ 1602119 w 4244988"/>
              <a:gd name="connsiteY20" fmla="*/ 340241 h 3293622"/>
              <a:gd name="connsiteX21" fmla="*/ 1603364 w 4244988"/>
              <a:gd name="connsiteY21" fmla="*/ 341800 h 3293622"/>
              <a:gd name="connsiteX22" fmla="*/ 1708605 w 4244988"/>
              <a:gd name="connsiteY22" fmla="*/ 266040 h 3293622"/>
              <a:gd name="connsiteX23" fmla="*/ 3889232 w 4244988"/>
              <a:gd name="connsiteY23" fmla="*/ 612826 h 32936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4244988" h="3293622">
                <a:moveTo>
                  <a:pt x="3889232" y="612826"/>
                </a:moveTo>
                <a:cubicBezTo>
                  <a:pt x="4454506" y="1320673"/>
                  <a:pt x="4333061" y="2357427"/>
                  <a:pt x="3617977" y="2928481"/>
                </a:cubicBezTo>
                <a:cubicBezTo>
                  <a:pt x="2902892" y="3499535"/>
                  <a:pt x="1864957" y="3388643"/>
                  <a:pt x="1299683" y="2680796"/>
                </a:cubicBezTo>
                <a:cubicBezTo>
                  <a:pt x="1273185" y="2647616"/>
                  <a:pt x="1248197" y="2613713"/>
                  <a:pt x="1224707" y="2579169"/>
                </a:cubicBezTo>
                <a:lnTo>
                  <a:pt x="1163631" y="2481534"/>
                </a:lnTo>
                <a:lnTo>
                  <a:pt x="1162772" y="2482220"/>
                </a:lnTo>
                <a:lnTo>
                  <a:pt x="1066262" y="2329542"/>
                </a:lnTo>
                <a:cubicBezTo>
                  <a:pt x="848799" y="2029269"/>
                  <a:pt x="561714" y="1833589"/>
                  <a:pt x="303465" y="1782295"/>
                </a:cubicBezTo>
                <a:lnTo>
                  <a:pt x="160860" y="1769870"/>
                </a:lnTo>
                <a:lnTo>
                  <a:pt x="160172" y="1769009"/>
                </a:lnTo>
                <a:lnTo>
                  <a:pt x="106474" y="1769009"/>
                </a:lnTo>
                <a:lnTo>
                  <a:pt x="100125" y="1769873"/>
                </a:lnTo>
                <a:cubicBezTo>
                  <a:pt x="70606" y="1769618"/>
                  <a:pt x="41612" y="1756710"/>
                  <a:pt x="21932" y="1732067"/>
                </a:cubicBezTo>
                <a:cubicBezTo>
                  <a:pt x="-4308" y="1699209"/>
                  <a:pt x="-6539" y="1654818"/>
                  <a:pt x="12753" y="1619690"/>
                </a:cubicBezTo>
                <a:lnTo>
                  <a:pt x="29905" y="1599352"/>
                </a:lnTo>
                <a:lnTo>
                  <a:pt x="28165" y="1597173"/>
                </a:lnTo>
                <a:lnTo>
                  <a:pt x="39122" y="1588423"/>
                </a:lnTo>
                <a:lnTo>
                  <a:pt x="39125" y="1588420"/>
                </a:lnTo>
                <a:lnTo>
                  <a:pt x="39130" y="1588417"/>
                </a:lnTo>
                <a:lnTo>
                  <a:pt x="1570938" y="365142"/>
                </a:lnTo>
                <a:lnTo>
                  <a:pt x="1602119" y="340241"/>
                </a:lnTo>
                <a:lnTo>
                  <a:pt x="1603364" y="341800"/>
                </a:lnTo>
                <a:lnTo>
                  <a:pt x="1708605" y="266040"/>
                </a:lnTo>
                <a:cubicBezTo>
                  <a:pt x="2413918" y="-189719"/>
                  <a:pt x="3359287" y="-50780"/>
                  <a:pt x="3889232" y="612826"/>
                </a:cubicBezTo>
                <a:close/>
              </a:path>
            </a:pathLst>
          </a:custGeom>
          <a:noFill/>
          <a:ln w="203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err="1"/>
          </a:p>
        </p:txBody>
      </p:sp>
    </p:spTree>
    <p:extLst>
      <p:ext uri="{BB962C8B-B14F-4D97-AF65-F5344CB8AC3E}">
        <p14:creationId xmlns:p14="http://schemas.microsoft.com/office/powerpoint/2010/main" val="147979033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row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9FF77938-122F-C54C-BD87-C9BCE9FE399E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err="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2C4D945-C608-2D44-801F-5A8EF6672EE1}"/>
              </a:ext>
            </a:extLst>
          </p:cNvPr>
          <p:cNvSpPr/>
          <p:nvPr userDrawn="1"/>
        </p:nvSpPr>
        <p:spPr>
          <a:xfrm>
            <a:off x="892" y="115888"/>
            <a:ext cx="12191108" cy="619283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4014154-730C-4446-9DF1-991D3FFED256}"/>
              </a:ext>
            </a:extLst>
          </p:cNvPr>
          <p:cNvSpPr txBox="1">
            <a:spLocks/>
          </p:cNvSpPr>
          <p:nvPr userDrawn="1"/>
        </p:nvSpPr>
        <p:spPr>
          <a:xfrm>
            <a:off x="11369993" y="6456998"/>
            <a:ext cx="271144" cy="17526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sv-SE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F2B5CF4-79E2-4BCE-8F81-53ED60D4893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B959D46-C518-8E42-B677-E2E4BAE97132}"/>
              </a:ext>
            </a:extLst>
          </p:cNvPr>
          <p:cNvCxnSpPr/>
          <p:nvPr userDrawn="1"/>
        </p:nvCxnSpPr>
        <p:spPr>
          <a:xfrm flipH="1">
            <a:off x="11369993" y="6635115"/>
            <a:ext cx="27114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B9DC132-3131-2B45-AEF2-2FE491EA0914}"/>
              </a:ext>
            </a:extLst>
          </p:cNvPr>
          <p:cNvCxnSpPr/>
          <p:nvPr userDrawn="1"/>
        </p:nvCxnSpPr>
        <p:spPr>
          <a:xfrm flipH="1">
            <a:off x="11369993" y="6442437"/>
            <a:ext cx="27114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3CABF466-6D66-B445-8EC1-42F4A4F36BEB}"/>
              </a:ext>
            </a:extLst>
          </p:cNvPr>
          <p:cNvSpPr txBox="1"/>
          <p:nvPr userDrawn="1"/>
        </p:nvSpPr>
        <p:spPr>
          <a:xfrm flipH="1">
            <a:off x="550863" y="6595778"/>
            <a:ext cx="1652387" cy="1077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400" cap="all" spc="80">
                <a:solidFill>
                  <a:schemeClr val="bg1"/>
                </a:solidFill>
              </a:rPr>
              <a:t>©</a:t>
            </a:r>
            <a:r>
              <a:rPr lang="en-US" sz="400" cap="all" spc="0" baseline="0">
                <a:solidFill>
                  <a:schemeClr val="bg1"/>
                </a:solidFill>
              </a:rPr>
              <a:t> </a:t>
            </a:r>
            <a:r>
              <a:rPr lang="en-US" sz="400" cap="all" spc="80">
                <a:solidFill>
                  <a:schemeClr val="bg1"/>
                </a:solidFill>
              </a:rPr>
              <a:t>Oriflame Cosmetics</a:t>
            </a:r>
            <a:r>
              <a:rPr lang="en-US" sz="400" cap="all" spc="80" baseline="0">
                <a:solidFill>
                  <a:schemeClr val="bg1"/>
                </a:solidFill>
              </a:rPr>
              <a:t> AG,2023</a:t>
            </a:r>
            <a:endParaRPr lang="en-US" sz="1600" cap="all" spc="80">
              <a:solidFill>
                <a:schemeClr val="bg1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50864" y="949234"/>
            <a:ext cx="9254874" cy="4784816"/>
          </a:xfrm>
        </p:spPr>
        <p:txBody>
          <a:bodyPr anchor="ctr">
            <a:noAutofit/>
          </a:bodyPr>
          <a:lstStyle>
            <a:lvl1pPr algn="l">
              <a:defRPr sz="10600" b="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Only one row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CEF90DE-7BE4-BD4F-B34D-AB8D6559F21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87908" y="6299505"/>
            <a:ext cx="1422989" cy="491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973365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row (white) + grap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9FF77938-122F-C54C-BD87-C9BCE9FE399E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err="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2C4D945-C608-2D44-801F-5A8EF6672EE1}"/>
              </a:ext>
            </a:extLst>
          </p:cNvPr>
          <p:cNvSpPr/>
          <p:nvPr userDrawn="1"/>
        </p:nvSpPr>
        <p:spPr>
          <a:xfrm>
            <a:off x="892" y="115888"/>
            <a:ext cx="12191108" cy="619283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4014154-730C-4446-9DF1-991D3FFED256}"/>
              </a:ext>
            </a:extLst>
          </p:cNvPr>
          <p:cNvSpPr txBox="1">
            <a:spLocks/>
          </p:cNvSpPr>
          <p:nvPr userDrawn="1"/>
        </p:nvSpPr>
        <p:spPr>
          <a:xfrm>
            <a:off x="11369993" y="6456998"/>
            <a:ext cx="271144" cy="17526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sv-SE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F2B5CF4-79E2-4BCE-8F81-53ED60D4893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B959D46-C518-8E42-B677-E2E4BAE97132}"/>
              </a:ext>
            </a:extLst>
          </p:cNvPr>
          <p:cNvCxnSpPr/>
          <p:nvPr userDrawn="1"/>
        </p:nvCxnSpPr>
        <p:spPr>
          <a:xfrm flipH="1">
            <a:off x="11369993" y="6635115"/>
            <a:ext cx="27114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B9DC132-3131-2B45-AEF2-2FE491EA0914}"/>
              </a:ext>
            </a:extLst>
          </p:cNvPr>
          <p:cNvCxnSpPr/>
          <p:nvPr userDrawn="1"/>
        </p:nvCxnSpPr>
        <p:spPr>
          <a:xfrm flipH="1">
            <a:off x="11369993" y="6442437"/>
            <a:ext cx="27114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3CABF466-6D66-B445-8EC1-42F4A4F36BEB}"/>
              </a:ext>
            </a:extLst>
          </p:cNvPr>
          <p:cNvSpPr txBox="1"/>
          <p:nvPr userDrawn="1"/>
        </p:nvSpPr>
        <p:spPr>
          <a:xfrm flipH="1">
            <a:off x="550863" y="6595778"/>
            <a:ext cx="1652387" cy="1077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400" cap="all" spc="80">
                <a:solidFill>
                  <a:schemeClr val="bg1"/>
                </a:solidFill>
              </a:rPr>
              <a:t>©</a:t>
            </a:r>
            <a:r>
              <a:rPr lang="en-US" sz="400" cap="all" spc="0" baseline="0">
                <a:solidFill>
                  <a:schemeClr val="bg1"/>
                </a:solidFill>
              </a:rPr>
              <a:t> </a:t>
            </a:r>
            <a:r>
              <a:rPr lang="en-US" sz="400" cap="all" spc="80">
                <a:solidFill>
                  <a:schemeClr val="bg1"/>
                </a:solidFill>
              </a:rPr>
              <a:t>Oriflame Cosmetics</a:t>
            </a:r>
            <a:r>
              <a:rPr lang="en-US" sz="400" cap="all" spc="80" baseline="0">
                <a:solidFill>
                  <a:schemeClr val="bg1"/>
                </a:solidFill>
              </a:rPr>
              <a:t> AG,2023</a:t>
            </a:r>
            <a:endParaRPr lang="en-US" sz="1600" cap="all" spc="80">
              <a:solidFill>
                <a:schemeClr val="bg1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50864" y="949234"/>
            <a:ext cx="9254874" cy="4784816"/>
          </a:xfrm>
        </p:spPr>
        <p:txBody>
          <a:bodyPr anchor="ctr">
            <a:noAutofit/>
          </a:bodyPr>
          <a:lstStyle>
            <a:lvl1pPr algn="l">
              <a:defRPr sz="10600" b="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Only one row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1B1BFF74-A914-B94D-B142-09D5A39794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87908" y="6299505"/>
            <a:ext cx="1422989" cy="491798"/>
          </a:xfrm>
          <a:prstGeom prst="rect">
            <a:avLst/>
          </a:prstGeom>
        </p:spPr>
      </p:pic>
      <p:sp>
        <p:nvSpPr>
          <p:cNvPr id="3" name="Freeform 2">
            <a:extLst>
              <a:ext uri="{FF2B5EF4-FFF2-40B4-BE49-F238E27FC236}">
                <a16:creationId xmlns:a16="http://schemas.microsoft.com/office/drawing/2014/main" id="{78441C43-6953-4E36-F3AA-A9B2A00E61DC}"/>
              </a:ext>
            </a:extLst>
          </p:cNvPr>
          <p:cNvSpPr/>
          <p:nvPr userDrawn="1"/>
        </p:nvSpPr>
        <p:spPr>
          <a:xfrm rot="14461010">
            <a:off x="10812632" y="2607728"/>
            <a:ext cx="5597222" cy="4342799"/>
          </a:xfrm>
          <a:custGeom>
            <a:avLst/>
            <a:gdLst>
              <a:gd name="connsiteX0" fmla="*/ 3889232 w 4244988"/>
              <a:gd name="connsiteY0" fmla="*/ 612826 h 3293622"/>
              <a:gd name="connsiteX1" fmla="*/ 3617977 w 4244988"/>
              <a:gd name="connsiteY1" fmla="*/ 2928481 h 3293622"/>
              <a:gd name="connsiteX2" fmla="*/ 1299683 w 4244988"/>
              <a:gd name="connsiteY2" fmla="*/ 2680796 h 3293622"/>
              <a:gd name="connsiteX3" fmla="*/ 1224707 w 4244988"/>
              <a:gd name="connsiteY3" fmla="*/ 2579169 h 3293622"/>
              <a:gd name="connsiteX4" fmla="*/ 1163631 w 4244988"/>
              <a:gd name="connsiteY4" fmla="*/ 2481534 h 3293622"/>
              <a:gd name="connsiteX5" fmla="*/ 1162772 w 4244988"/>
              <a:gd name="connsiteY5" fmla="*/ 2482220 h 3293622"/>
              <a:gd name="connsiteX6" fmla="*/ 1066262 w 4244988"/>
              <a:gd name="connsiteY6" fmla="*/ 2329542 h 3293622"/>
              <a:gd name="connsiteX7" fmla="*/ 303465 w 4244988"/>
              <a:gd name="connsiteY7" fmla="*/ 1782295 h 3293622"/>
              <a:gd name="connsiteX8" fmla="*/ 160860 w 4244988"/>
              <a:gd name="connsiteY8" fmla="*/ 1769870 h 3293622"/>
              <a:gd name="connsiteX9" fmla="*/ 160172 w 4244988"/>
              <a:gd name="connsiteY9" fmla="*/ 1769009 h 3293622"/>
              <a:gd name="connsiteX10" fmla="*/ 106474 w 4244988"/>
              <a:gd name="connsiteY10" fmla="*/ 1769009 h 3293622"/>
              <a:gd name="connsiteX11" fmla="*/ 100125 w 4244988"/>
              <a:gd name="connsiteY11" fmla="*/ 1769873 h 3293622"/>
              <a:gd name="connsiteX12" fmla="*/ 21932 w 4244988"/>
              <a:gd name="connsiteY12" fmla="*/ 1732067 h 3293622"/>
              <a:gd name="connsiteX13" fmla="*/ 12753 w 4244988"/>
              <a:gd name="connsiteY13" fmla="*/ 1619690 h 3293622"/>
              <a:gd name="connsiteX14" fmla="*/ 29905 w 4244988"/>
              <a:gd name="connsiteY14" fmla="*/ 1599352 h 3293622"/>
              <a:gd name="connsiteX15" fmla="*/ 28165 w 4244988"/>
              <a:gd name="connsiteY15" fmla="*/ 1597173 h 3293622"/>
              <a:gd name="connsiteX16" fmla="*/ 39122 w 4244988"/>
              <a:gd name="connsiteY16" fmla="*/ 1588423 h 3293622"/>
              <a:gd name="connsiteX17" fmla="*/ 39125 w 4244988"/>
              <a:gd name="connsiteY17" fmla="*/ 1588420 h 3293622"/>
              <a:gd name="connsiteX18" fmla="*/ 39130 w 4244988"/>
              <a:gd name="connsiteY18" fmla="*/ 1588417 h 3293622"/>
              <a:gd name="connsiteX19" fmla="*/ 1570938 w 4244988"/>
              <a:gd name="connsiteY19" fmla="*/ 365142 h 3293622"/>
              <a:gd name="connsiteX20" fmla="*/ 1602119 w 4244988"/>
              <a:gd name="connsiteY20" fmla="*/ 340241 h 3293622"/>
              <a:gd name="connsiteX21" fmla="*/ 1603364 w 4244988"/>
              <a:gd name="connsiteY21" fmla="*/ 341800 h 3293622"/>
              <a:gd name="connsiteX22" fmla="*/ 1708605 w 4244988"/>
              <a:gd name="connsiteY22" fmla="*/ 266040 h 3293622"/>
              <a:gd name="connsiteX23" fmla="*/ 3889232 w 4244988"/>
              <a:gd name="connsiteY23" fmla="*/ 612826 h 32936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4244988" h="3293622">
                <a:moveTo>
                  <a:pt x="3889232" y="612826"/>
                </a:moveTo>
                <a:cubicBezTo>
                  <a:pt x="4454506" y="1320673"/>
                  <a:pt x="4333061" y="2357427"/>
                  <a:pt x="3617977" y="2928481"/>
                </a:cubicBezTo>
                <a:cubicBezTo>
                  <a:pt x="2902892" y="3499535"/>
                  <a:pt x="1864957" y="3388643"/>
                  <a:pt x="1299683" y="2680796"/>
                </a:cubicBezTo>
                <a:cubicBezTo>
                  <a:pt x="1273185" y="2647616"/>
                  <a:pt x="1248197" y="2613713"/>
                  <a:pt x="1224707" y="2579169"/>
                </a:cubicBezTo>
                <a:lnTo>
                  <a:pt x="1163631" y="2481534"/>
                </a:lnTo>
                <a:lnTo>
                  <a:pt x="1162772" y="2482220"/>
                </a:lnTo>
                <a:lnTo>
                  <a:pt x="1066262" y="2329542"/>
                </a:lnTo>
                <a:cubicBezTo>
                  <a:pt x="848799" y="2029269"/>
                  <a:pt x="561714" y="1833589"/>
                  <a:pt x="303465" y="1782295"/>
                </a:cubicBezTo>
                <a:lnTo>
                  <a:pt x="160860" y="1769870"/>
                </a:lnTo>
                <a:lnTo>
                  <a:pt x="160172" y="1769009"/>
                </a:lnTo>
                <a:lnTo>
                  <a:pt x="106474" y="1769009"/>
                </a:lnTo>
                <a:lnTo>
                  <a:pt x="100125" y="1769873"/>
                </a:lnTo>
                <a:cubicBezTo>
                  <a:pt x="70606" y="1769618"/>
                  <a:pt x="41612" y="1756710"/>
                  <a:pt x="21932" y="1732067"/>
                </a:cubicBezTo>
                <a:cubicBezTo>
                  <a:pt x="-4308" y="1699209"/>
                  <a:pt x="-6539" y="1654818"/>
                  <a:pt x="12753" y="1619690"/>
                </a:cubicBezTo>
                <a:lnTo>
                  <a:pt x="29905" y="1599352"/>
                </a:lnTo>
                <a:lnTo>
                  <a:pt x="28165" y="1597173"/>
                </a:lnTo>
                <a:lnTo>
                  <a:pt x="39122" y="1588423"/>
                </a:lnTo>
                <a:lnTo>
                  <a:pt x="39125" y="1588420"/>
                </a:lnTo>
                <a:lnTo>
                  <a:pt x="39130" y="1588417"/>
                </a:lnTo>
                <a:lnTo>
                  <a:pt x="1570938" y="365142"/>
                </a:lnTo>
                <a:lnTo>
                  <a:pt x="1602119" y="340241"/>
                </a:lnTo>
                <a:lnTo>
                  <a:pt x="1603364" y="341800"/>
                </a:lnTo>
                <a:lnTo>
                  <a:pt x="1708605" y="266040"/>
                </a:lnTo>
                <a:cubicBezTo>
                  <a:pt x="2413918" y="-189719"/>
                  <a:pt x="3359287" y="-50780"/>
                  <a:pt x="3889232" y="612826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err="1"/>
          </a:p>
        </p:txBody>
      </p:sp>
      <p:sp>
        <p:nvSpPr>
          <p:cNvPr id="2" name="Freeform 1">
            <a:extLst>
              <a:ext uri="{FF2B5EF4-FFF2-40B4-BE49-F238E27FC236}">
                <a16:creationId xmlns:a16="http://schemas.microsoft.com/office/drawing/2014/main" id="{4CB44438-96B9-5FF2-6F48-37A047F0269E}"/>
              </a:ext>
            </a:extLst>
          </p:cNvPr>
          <p:cNvSpPr/>
          <p:nvPr userDrawn="1"/>
        </p:nvSpPr>
        <p:spPr>
          <a:xfrm rot="13400277">
            <a:off x="9668374" y="5178246"/>
            <a:ext cx="5597222" cy="4342799"/>
          </a:xfrm>
          <a:custGeom>
            <a:avLst/>
            <a:gdLst>
              <a:gd name="connsiteX0" fmla="*/ 3889232 w 4244988"/>
              <a:gd name="connsiteY0" fmla="*/ 612826 h 3293622"/>
              <a:gd name="connsiteX1" fmla="*/ 3617977 w 4244988"/>
              <a:gd name="connsiteY1" fmla="*/ 2928481 h 3293622"/>
              <a:gd name="connsiteX2" fmla="*/ 1299683 w 4244988"/>
              <a:gd name="connsiteY2" fmla="*/ 2680796 h 3293622"/>
              <a:gd name="connsiteX3" fmla="*/ 1224707 w 4244988"/>
              <a:gd name="connsiteY3" fmla="*/ 2579169 h 3293622"/>
              <a:gd name="connsiteX4" fmla="*/ 1163631 w 4244988"/>
              <a:gd name="connsiteY4" fmla="*/ 2481534 h 3293622"/>
              <a:gd name="connsiteX5" fmla="*/ 1162772 w 4244988"/>
              <a:gd name="connsiteY5" fmla="*/ 2482220 h 3293622"/>
              <a:gd name="connsiteX6" fmla="*/ 1066262 w 4244988"/>
              <a:gd name="connsiteY6" fmla="*/ 2329542 h 3293622"/>
              <a:gd name="connsiteX7" fmla="*/ 303465 w 4244988"/>
              <a:gd name="connsiteY7" fmla="*/ 1782295 h 3293622"/>
              <a:gd name="connsiteX8" fmla="*/ 160860 w 4244988"/>
              <a:gd name="connsiteY8" fmla="*/ 1769870 h 3293622"/>
              <a:gd name="connsiteX9" fmla="*/ 160172 w 4244988"/>
              <a:gd name="connsiteY9" fmla="*/ 1769009 h 3293622"/>
              <a:gd name="connsiteX10" fmla="*/ 106474 w 4244988"/>
              <a:gd name="connsiteY10" fmla="*/ 1769009 h 3293622"/>
              <a:gd name="connsiteX11" fmla="*/ 100125 w 4244988"/>
              <a:gd name="connsiteY11" fmla="*/ 1769873 h 3293622"/>
              <a:gd name="connsiteX12" fmla="*/ 21932 w 4244988"/>
              <a:gd name="connsiteY12" fmla="*/ 1732067 h 3293622"/>
              <a:gd name="connsiteX13" fmla="*/ 12753 w 4244988"/>
              <a:gd name="connsiteY13" fmla="*/ 1619690 h 3293622"/>
              <a:gd name="connsiteX14" fmla="*/ 29905 w 4244988"/>
              <a:gd name="connsiteY14" fmla="*/ 1599352 h 3293622"/>
              <a:gd name="connsiteX15" fmla="*/ 28165 w 4244988"/>
              <a:gd name="connsiteY15" fmla="*/ 1597173 h 3293622"/>
              <a:gd name="connsiteX16" fmla="*/ 39122 w 4244988"/>
              <a:gd name="connsiteY16" fmla="*/ 1588423 h 3293622"/>
              <a:gd name="connsiteX17" fmla="*/ 39125 w 4244988"/>
              <a:gd name="connsiteY17" fmla="*/ 1588420 h 3293622"/>
              <a:gd name="connsiteX18" fmla="*/ 39130 w 4244988"/>
              <a:gd name="connsiteY18" fmla="*/ 1588417 h 3293622"/>
              <a:gd name="connsiteX19" fmla="*/ 1570938 w 4244988"/>
              <a:gd name="connsiteY19" fmla="*/ 365142 h 3293622"/>
              <a:gd name="connsiteX20" fmla="*/ 1602119 w 4244988"/>
              <a:gd name="connsiteY20" fmla="*/ 340241 h 3293622"/>
              <a:gd name="connsiteX21" fmla="*/ 1603364 w 4244988"/>
              <a:gd name="connsiteY21" fmla="*/ 341800 h 3293622"/>
              <a:gd name="connsiteX22" fmla="*/ 1708605 w 4244988"/>
              <a:gd name="connsiteY22" fmla="*/ 266040 h 3293622"/>
              <a:gd name="connsiteX23" fmla="*/ 3889232 w 4244988"/>
              <a:gd name="connsiteY23" fmla="*/ 612826 h 32936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4244988" h="3293622">
                <a:moveTo>
                  <a:pt x="3889232" y="612826"/>
                </a:moveTo>
                <a:cubicBezTo>
                  <a:pt x="4454506" y="1320673"/>
                  <a:pt x="4333061" y="2357427"/>
                  <a:pt x="3617977" y="2928481"/>
                </a:cubicBezTo>
                <a:cubicBezTo>
                  <a:pt x="2902892" y="3499535"/>
                  <a:pt x="1864957" y="3388643"/>
                  <a:pt x="1299683" y="2680796"/>
                </a:cubicBezTo>
                <a:cubicBezTo>
                  <a:pt x="1273185" y="2647616"/>
                  <a:pt x="1248197" y="2613713"/>
                  <a:pt x="1224707" y="2579169"/>
                </a:cubicBezTo>
                <a:lnTo>
                  <a:pt x="1163631" y="2481534"/>
                </a:lnTo>
                <a:lnTo>
                  <a:pt x="1162772" y="2482220"/>
                </a:lnTo>
                <a:lnTo>
                  <a:pt x="1066262" y="2329542"/>
                </a:lnTo>
                <a:cubicBezTo>
                  <a:pt x="848799" y="2029269"/>
                  <a:pt x="561714" y="1833589"/>
                  <a:pt x="303465" y="1782295"/>
                </a:cubicBezTo>
                <a:lnTo>
                  <a:pt x="160860" y="1769870"/>
                </a:lnTo>
                <a:lnTo>
                  <a:pt x="160172" y="1769009"/>
                </a:lnTo>
                <a:lnTo>
                  <a:pt x="106474" y="1769009"/>
                </a:lnTo>
                <a:lnTo>
                  <a:pt x="100125" y="1769873"/>
                </a:lnTo>
                <a:cubicBezTo>
                  <a:pt x="70606" y="1769618"/>
                  <a:pt x="41612" y="1756710"/>
                  <a:pt x="21932" y="1732067"/>
                </a:cubicBezTo>
                <a:cubicBezTo>
                  <a:pt x="-4308" y="1699209"/>
                  <a:pt x="-6539" y="1654818"/>
                  <a:pt x="12753" y="1619690"/>
                </a:cubicBezTo>
                <a:lnTo>
                  <a:pt x="29905" y="1599352"/>
                </a:lnTo>
                <a:lnTo>
                  <a:pt x="28165" y="1597173"/>
                </a:lnTo>
                <a:lnTo>
                  <a:pt x="39122" y="1588423"/>
                </a:lnTo>
                <a:lnTo>
                  <a:pt x="39125" y="1588420"/>
                </a:lnTo>
                <a:lnTo>
                  <a:pt x="39130" y="1588417"/>
                </a:lnTo>
                <a:lnTo>
                  <a:pt x="1570938" y="365142"/>
                </a:lnTo>
                <a:lnTo>
                  <a:pt x="1602119" y="340241"/>
                </a:lnTo>
                <a:lnTo>
                  <a:pt x="1603364" y="341800"/>
                </a:lnTo>
                <a:lnTo>
                  <a:pt x="1708605" y="266040"/>
                </a:lnTo>
                <a:cubicBezTo>
                  <a:pt x="2413918" y="-189719"/>
                  <a:pt x="3359287" y="-50780"/>
                  <a:pt x="3889232" y="612826"/>
                </a:cubicBezTo>
                <a:close/>
              </a:path>
            </a:pathLst>
          </a:custGeom>
          <a:noFill/>
          <a:ln w="2032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err="1"/>
          </a:p>
        </p:txBody>
      </p:sp>
    </p:spTree>
    <p:extLst>
      <p:ext uri="{BB962C8B-B14F-4D97-AF65-F5344CB8AC3E}">
        <p14:creationId xmlns:p14="http://schemas.microsoft.com/office/powerpoint/2010/main" val="68178282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with name (dark purple bubb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>
            <a:extLst>
              <a:ext uri="{FF2B5EF4-FFF2-40B4-BE49-F238E27FC236}">
                <a16:creationId xmlns:a16="http://schemas.microsoft.com/office/drawing/2014/main" id="{B832E597-2F20-08B9-9FAB-9D589B42BE0A}"/>
              </a:ext>
            </a:extLst>
          </p:cNvPr>
          <p:cNvSpPr/>
          <p:nvPr userDrawn="1"/>
        </p:nvSpPr>
        <p:spPr>
          <a:xfrm rot="18516616">
            <a:off x="-477730" y="1257599"/>
            <a:ext cx="5597222" cy="4342799"/>
          </a:xfrm>
          <a:custGeom>
            <a:avLst/>
            <a:gdLst>
              <a:gd name="connsiteX0" fmla="*/ 3889232 w 4244988"/>
              <a:gd name="connsiteY0" fmla="*/ 612826 h 3293622"/>
              <a:gd name="connsiteX1" fmla="*/ 3617977 w 4244988"/>
              <a:gd name="connsiteY1" fmla="*/ 2928481 h 3293622"/>
              <a:gd name="connsiteX2" fmla="*/ 1299683 w 4244988"/>
              <a:gd name="connsiteY2" fmla="*/ 2680796 h 3293622"/>
              <a:gd name="connsiteX3" fmla="*/ 1224707 w 4244988"/>
              <a:gd name="connsiteY3" fmla="*/ 2579169 h 3293622"/>
              <a:gd name="connsiteX4" fmla="*/ 1163631 w 4244988"/>
              <a:gd name="connsiteY4" fmla="*/ 2481534 h 3293622"/>
              <a:gd name="connsiteX5" fmla="*/ 1162772 w 4244988"/>
              <a:gd name="connsiteY5" fmla="*/ 2482220 h 3293622"/>
              <a:gd name="connsiteX6" fmla="*/ 1066262 w 4244988"/>
              <a:gd name="connsiteY6" fmla="*/ 2329542 h 3293622"/>
              <a:gd name="connsiteX7" fmla="*/ 303465 w 4244988"/>
              <a:gd name="connsiteY7" fmla="*/ 1782295 h 3293622"/>
              <a:gd name="connsiteX8" fmla="*/ 160860 w 4244988"/>
              <a:gd name="connsiteY8" fmla="*/ 1769870 h 3293622"/>
              <a:gd name="connsiteX9" fmla="*/ 160172 w 4244988"/>
              <a:gd name="connsiteY9" fmla="*/ 1769009 h 3293622"/>
              <a:gd name="connsiteX10" fmla="*/ 106474 w 4244988"/>
              <a:gd name="connsiteY10" fmla="*/ 1769009 h 3293622"/>
              <a:gd name="connsiteX11" fmla="*/ 100125 w 4244988"/>
              <a:gd name="connsiteY11" fmla="*/ 1769873 h 3293622"/>
              <a:gd name="connsiteX12" fmla="*/ 21932 w 4244988"/>
              <a:gd name="connsiteY12" fmla="*/ 1732067 h 3293622"/>
              <a:gd name="connsiteX13" fmla="*/ 12753 w 4244988"/>
              <a:gd name="connsiteY13" fmla="*/ 1619690 h 3293622"/>
              <a:gd name="connsiteX14" fmla="*/ 29905 w 4244988"/>
              <a:gd name="connsiteY14" fmla="*/ 1599352 h 3293622"/>
              <a:gd name="connsiteX15" fmla="*/ 28165 w 4244988"/>
              <a:gd name="connsiteY15" fmla="*/ 1597173 h 3293622"/>
              <a:gd name="connsiteX16" fmla="*/ 39122 w 4244988"/>
              <a:gd name="connsiteY16" fmla="*/ 1588423 h 3293622"/>
              <a:gd name="connsiteX17" fmla="*/ 39125 w 4244988"/>
              <a:gd name="connsiteY17" fmla="*/ 1588420 h 3293622"/>
              <a:gd name="connsiteX18" fmla="*/ 39130 w 4244988"/>
              <a:gd name="connsiteY18" fmla="*/ 1588417 h 3293622"/>
              <a:gd name="connsiteX19" fmla="*/ 1570938 w 4244988"/>
              <a:gd name="connsiteY19" fmla="*/ 365142 h 3293622"/>
              <a:gd name="connsiteX20" fmla="*/ 1602119 w 4244988"/>
              <a:gd name="connsiteY20" fmla="*/ 340241 h 3293622"/>
              <a:gd name="connsiteX21" fmla="*/ 1603364 w 4244988"/>
              <a:gd name="connsiteY21" fmla="*/ 341800 h 3293622"/>
              <a:gd name="connsiteX22" fmla="*/ 1708605 w 4244988"/>
              <a:gd name="connsiteY22" fmla="*/ 266040 h 3293622"/>
              <a:gd name="connsiteX23" fmla="*/ 3889232 w 4244988"/>
              <a:gd name="connsiteY23" fmla="*/ 612826 h 32936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4244988" h="3293622">
                <a:moveTo>
                  <a:pt x="3889232" y="612826"/>
                </a:moveTo>
                <a:cubicBezTo>
                  <a:pt x="4454506" y="1320673"/>
                  <a:pt x="4333061" y="2357427"/>
                  <a:pt x="3617977" y="2928481"/>
                </a:cubicBezTo>
                <a:cubicBezTo>
                  <a:pt x="2902892" y="3499535"/>
                  <a:pt x="1864957" y="3388643"/>
                  <a:pt x="1299683" y="2680796"/>
                </a:cubicBezTo>
                <a:cubicBezTo>
                  <a:pt x="1273185" y="2647616"/>
                  <a:pt x="1248197" y="2613713"/>
                  <a:pt x="1224707" y="2579169"/>
                </a:cubicBezTo>
                <a:lnTo>
                  <a:pt x="1163631" y="2481534"/>
                </a:lnTo>
                <a:lnTo>
                  <a:pt x="1162772" y="2482220"/>
                </a:lnTo>
                <a:lnTo>
                  <a:pt x="1066262" y="2329542"/>
                </a:lnTo>
                <a:cubicBezTo>
                  <a:pt x="848799" y="2029269"/>
                  <a:pt x="561714" y="1833589"/>
                  <a:pt x="303465" y="1782295"/>
                </a:cubicBezTo>
                <a:lnTo>
                  <a:pt x="160860" y="1769870"/>
                </a:lnTo>
                <a:lnTo>
                  <a:pt x="160172" y="1769009"/>
                </a:lnTo>
                <a:lnTo>
                  <a:pt x="106474" y="1769009"/>
                </a:lnTo>
                <a:lnTo>
                  <a:pt x="100125" y="1769873"/>
                </a:lnTo>
                <a:cubicBezTo>
                  <a:pt x="70606" y="1769618"/>
                  <a:pt x="41612" y="1756710"/>
                  <a:pt x="21932" y="1732067"/>
                </a:cubicBezTo>
                <a:cubicBezTo>
                  <a:pt x="-4308" y="1699209"/>
                  <a:pt x="-6539" y="1654818"/>
                  <a:pt x="12753" y="1619690"/>
                </a:cubicBezTo>
                <a:lnTo>
                  <a:pt x="29905" y="1599352"/>
                </a:lnTo>
                <a:lnTo>
                  <a:pt x="28165" y="1597173"/>
                </a:lnTo>
                <a:lnTo>
                  <a:pt x="39122" y="1588423"/>
                </a:lnTo>
                <a:lnTo>
                  <a:pt x="39125" y="1588420"/>
                </a:lnTo>
                <a:lnTo>
                  <a:pt x="39130" y="1588417"/>
                </a:lnTo>
                <a:lnTo>
                  <a:pt x="1570938" y="365142"/>
                </a:lnTo>
                <a:lnTo>
                  <a:pt x="1602119" y="340241"/>
                </a:lnTo>
                <a:lnTo>
                  <a:pt x="1603364" y="341800"/>
                </a:lnTo>
                <a:lnTo>
                  <a:pt x="1708605" y="266040"/>
                </a:lnTo>
                <a:cubicBezTo>
                  <a:pt x="2413918" y="-189719"/>
                  <a:pt x="3359287" y="-50780"/>
                  <a:pt x="3889232" y="612826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err="1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F2B5CF4-79E2-4BCE-8F81-53ED60D489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BAAE163-EC90-C048-998E-6170724EFA66}"/>
              </a:ext>
            </a:extLst>
          </p:cNvPr>
          <p:cNvSpPr txBox="1">
            <a:spLocks/>
          </p:cNvSpPr>
          <p:nvPr userDrawn="1"/>
        </p:nvSpPr>
        <p:spPr>
          <a:xfrm>
            <a:off x="448362" y="683516"/>
            <a:ext cx="11192775" cy="5333824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79388" indent="-179388"/>
            <a:endParaRPr lang="sv-SE" sz="360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3A46E7C5-7657-8E85-FCAD-A518F08998B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54486" y="1816473"/>
            <a:ext cx="10486652" cy="1888708"/>
          </a:xfrm>
        </p:spPr>
        <p:txBody>
          <a:bodyPr anchor="b">
            <a:noAutofit/>
          </a:bodyPr>
          <a:lstStyle>
            <a:lvl1pPr marL="180000" indent="-180000" algn="l">
              <a:defRPr sz="4000" b="0" baseline="0">
                <a:solidFill>
                  <a:schemeClr val="bg1"/>
                </a:solidFill>
              </a:defRPr>
            </a:lvl1pPr>
          </a:lstStyle>
          <a:p>
            <a:r>
              <a:rPr lang="en-GB" sz="4000" b="0" noProof="0"/>
              <a:t>‘This is a place for you to write a quote. Maximum three rows’</a:t>
            </a:r>
            <a:endParaRPr lang="en-GB" noProof="0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7E76D562-0B58-3227-E867-CA8A94FA529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356366" y="3915646"/>
            <a:ext cx="5978274" cy="647286"/>
          </a:xfrm>
        </p:spPr>
        <p:txBody>
          <a:bodyPr>
            <a:noAutofit/>
          </a:bodyPr>
          <a:lstStyle>
            <a:lvl1pPr marL="0" indent="0" algn="l">
              <a:buNone/>
              <a:defRPr sz="1400" b="0" cap="none" spc="15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125686797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with name (orange bubb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>
            <a:extLst>
              <a:ext uri="{FF2B5EF4-FFF2-40B4-BE49-F238E27FC236}">
                <a16:creationId xmlns:a16="http://schemas.microsoft.com/office/drawing/2014/main" id="{B832E597-2F20-08B9-9FAB-9D589B42BE0A}"/>
              </a:ext>
            </a:extLst>
          </p:cNvPr>
          <p:cNvSpPr/>
          <p:nvPr userDrawn="1"/>
        </p:nvSpPr>
        <p:spPr>
          <a:xfrm rot="18516616">
            <a:off x="-477730" y="1257599"/>
            <a:ext cx="5597222" cy="4342799"/>
          </a:xfrm>
          <a:custGeom>
            <a:avLst/>
            <a:gdLst>
              <a:gd name="connsiteX0" fmla="*/ 3889232 w 4244988"/>
              <a:gd name="connsiteY0" fmla="*/ 612826 h 3293622"/>
              <a:gd name="connsiteX1" fmla="*/ 3617977 w 4244988"/>
              <a:gd name="connsiteY1" fmla="*/ 2928481 h 3293622"/>
              <a:gd name="connsiteX2" fmla="*/ 1299683 w 4244988"/>
              <a:gd name="connsiteY2" fmla="*/ 2680796 h 3293622"/>
              <a:gd name="connsiteX3" fmla="*/ 1224707 w 4244988"/>
              <a:gd name="connsiteY3" fmla="*/ 2579169 h 3293622"/>
              <a:gd name="connsiteX4" fmla="*/ 1163631 w 4244988"/>
              <a:gd name="connsiteY4" fmla="*/ 2481534 h 3293622"/>
              <a:gd name="connsiteX5" fmla="*/ 1162772 w 4244988"/>
              <a:gd name="connsiteY5" fmla="*/ 2482220 h 3293622"/>
              <a:gd name="connsiteX6" fmla="*/ 1066262 w 4244988"/>
              <a:gd name="connsiteY6" fmla="*/ 2329542 h 3293622"/>
              <a:gd name="connsiteX7" fmla="*/ 303465 w 4244988"/>
              <a:gd name="connsiteY7" fmla="*/ 1782295 h 3293622"/>
              <a:gd name="connsiteX8" fmla="*/ 160860 w 4244988"/>
              <a:gd name="connsiteY8" fmla="*/ 1769870 h 3293622"/>
              <a:gd name="connsiteX9" fmla="*/ 160172 w 4244988"/>
              <a:gd name="connsiteY9" fmla="*/ 1769009 h 3293622"/>
              <a:gd name="connsiteX10" fmla="*/ 106474 w 4244988"/>
              <a:gd name="connsiteY10" fmla="*/ 1769009 h 3293622"/>
              <a:gd name="connsiteX11" fmla="*/ 100125 w 4244988"/>
              <a:gd name="connsiteY11" fmla="*/ 1769873 h 3293622"/>
              <a:gd name="connsiteX12" fmla="*/ 21932 w 4244988"/>
              <a:gd name="connsiteY12" fmla="*/ 1732067 h 3293622"/>
              <a:gd name="connsiteX13" fmla="*/ 12753 w 4244988"/>
              <a:gd name="connsiteY13" fmla="*/ 1619690 h 3293622"/>
              <a:gd name="connsiteX14" fmla="*/ 29905 w 4244988"/>
              <a:gd name="connsiteY14" fmla="*/ 1599352 h 3293622"/>
              <a:gd name="connsiteX15" fmla="*/ 28165 w 4244988"/>
              <a:gd name="connsiteY15" fmla="*/ 1597173 h 3293622"/>
              <a:gd name="connsiteX16" fmla="*/ 39122 w 4244988"/>
              <a:gd name="connsiteY16" fmla="*/ 1588423 h 3293622"/>
              <a:gd name="connsiteX17" fmla="*/ 39125 w 4244988"/>
              <a:gd name="connsiteY17" fmla="*/ 1588420 h 3293622"/>
              <a:gd name="connsiteX18" fmla="*/ 39130 w 4244988"/>
              <a:gd name="connsiteY18" fmla="*/ 1588417 h 3293622"/>
              <a:gd name="connsiteX19" fmla="*/ 1570938 w 4244988"/>
              <a:gd name="connsiteY19" fmla="*/ 365142 h 3293622"/>
              <a:gd name="connsiteX20" fmla="*/ 1602119 w 4244988"/>
              <a:gd name="connsiteY20" fmla="*/ 340241 h 3293622"/>
              <a:gd name="connsiteX21" fmla="*/ 1603364 w 4244988"/>
              <a:gd name="connsiteY21" fmla="*/ 341800 h 3293622"/>
              <a:gd name="connsiteX22" fmla="*/ 1708605 w 4244988"/>
              <a:gd name="connsiteY22" fmla="*/ 266040 h 3293622"/>
              <a:gd name="connsiteX23" fmla="*/ 3889232 w 4244988"/>
              <a:gd name="connsiteY23" fmla="*/ 612826 h 32936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4244988" h="3293622">
                <a:moveTo>
                  <a:pt x="3889232" y="612826"/>
                </a:moveTo>
                <a:cubicBezTo>
                  <a:pt x="4454506" y="1320673"/>
                  <a:pt x="4333061" y="2357427"/>
                  <a:pt x="3617977" y="2928481"/>
                </a:cubicBezTo>
                <a:cubicBezTo>
                  <a:pt x="2902892" y="3499535"/>
                  <a:pt x="1864957" y="3388643"/>
                  <a:pt x="1299683" y="2680796"/>
                </a:cubicBezTo>
                <a:cubicBezTo>
                  <a:pt x="1273185" y="2647616"/>
                  <a:pt x="1248197" y="2613713"/>
                  <a:pt x="1224707" y="2579169"/>
                </a:cubicBezTo>
                <a:lnTo>
                  <a:pt x="1163631" y="2481534"/>
                </a:lnTo>
                <a:lnTo>
                  <a:pt x="1162772" y="2482220"/>
                </a:lnTo>
                <a:lnTo>
                  <a:pt x="1066262" y="2329542"/>
                </a:lnTo>
                <a:cubicBezTo>
                  <a:pt x="848799" y="2029269"/>
                  <a:pt x="561714" y="1833589"/>
                  <a:pt x="303465" y="1782295"/>
                </a:cubicBezTo>
                <a:lnTo>
                  <a:pt x="160860" y="1769870"/>
                </a:lnTo>
                <a:lnTo>
                  <a:pt x="160172" y="1769009"/>
                </a:lnTo>
                <a:lnTo>
                  <a:pt x="106474" y="1769009"/>
                </a:lnTo>
                <a:lnTo>
                  <a:pt x="100125" y="1769873"/>
                </a:lnTo>
                <a:cubicBezTo>
                  <a:pt x="70606" y="1769618"/>
                  <a:pt x="41612" y="1756710"/>
                  <a:pt x="21932" y="1732067"/>
                </a:cubicBezTo>
                <a:cubicBezTo>
                  <a:pt x="-4308" y="1699209"/>
                  <a:pt x="-6539" y="1654818"/>
                  <a:pt x="12753" y="1619690"/>
                </a:cubicBezTo>
                <a:lnTo>
                  <a:pt x="29905" y="1599352"/>
                </a:lnTo>
                <a:lnTo>
                  <a:pt x="28165" y="1597173"/>
                </a:lnTo>
                <a:lnTo>
                  <a:pt x="39122" y="1588423"/>
                </a:lnTo>
                <a:lnTo>
                  <a:pt x="39125" y="1588420"/>
                </a:lnTo>
                <a:lnTo>
                  <a:pt x="39130" y="1588417"/>
                </a:lnTo>
                <a:lnTo>
                  <a:pt x="1570938" y="365142"/>
                </a:lnTo>
                <a:lnTo>
                  <a:pt x="1602119" y="340241"/>
                </a:lnTo>
                <a:lnTo>
                  <a:pt x="1603364" y="341800"/>
                </a:lnTo>
                <a:lnTo>
                  <a:pt x="1708605" y="266040"/>
                </a:lnTo>
                <a:cubicBezTo>
                  <a:pt x="2413918" y="-189719"/>
                  <a:pt x="3359287" y="-50780"/>
                  <a:pt x="3889232" y="612826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err="1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F2B5CF4-79E2-4BCE-8F81-53ED60D489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BAAE163-EC90-C048-998E-6170724EFA66}"/>
              </a:ext>
            </a:extLst>
          </p:cNvPr>
          <p:cNvSpPr txBox="1">
            <a:spLocks/>
          </p:cNvSpPr>
          <p:nvPr userDrawn="1"/>
        </p:nvSpPr>
        <p:spPr>
          <a:xfrm>
            <a:off x="448362" y="683516"/>
            <a:ext cx="11192775" cy="5333824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79388" indent="-179388"/>
            <a:endParaRPr lang="sv-SE" sz="360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3A46E7C5-7657-8E85-FCAD-A518F08998B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54486" y="1816473"/>
            <a:ext cx="10486652" cy="1888708"/>
          </a:xfrm>
        </p:spPr>
        <p:txBody>
          <a:bodyPr anchor="b">
            <a:noAutofit/>
          </a:bodyPr>
          <a:lstStyle>
            <a:lvl1pPr marL="180000" indent="-180000" algn="l">
              <a:defRPr sz="4000" b="0" baseline="0">
                <a:solidFill>
                  <a:schemeClr val="bg1"/>
                </a:solidFill>
              </a:defRPr>
            </a:lvl1pPr>
          </a:lstStyle>
          <a:p>
            <a:r>
              <a:rPr lang="en-GB" sz="4000" b="0" noProof="0"/>
              <a:t>‘This is a place for you to write a quote. Maximum three rows’</a:t>
            </a:r>
            <a:endParaRPr lang="en-GB" noProof="0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7E76D562-0B58-3227-E867-CA8A94FA529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356366" y="3915646"/>
            <a:ext cx="5978274" cy="647286"/>
          </a:xfrm>
        </p:spPr>
        <p:txBody>
          <a:bodyPr>
            <a:noAutofit/>
          </a:bodyPr>
          <a:lstStyle>
            <a:lvl1pPr marL="0" indent="0" algn="l">
              <a:buNone/>
              <a:defRPr sz="1400" b="0" cap="none" spc="15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113236199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with name (pink bubb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F2B5CF4-79E2-4BCE-8F81-53ED60D489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Freeform 6">
            <a:extLst>
              <a:ext uri="{FF2B5EF4-FFF2-40B4-BE49-F238E27FC236}">
                <a16:creationId xmlns:a16="http://schemas.microsoft.com/office/drawing/2014/main" id="{0055C958-C1EB-59D7-6446-72344FBCDF65}"/>
              </a:ext>
            </a:extLst>
          </p:cNvPr>
          <p:cNvSpPr/>
          <p:nvPr userDrawn="1"/>
        </p:nvSpPr>
        <p:spPr>
          <a:xfrm rot="18516616">
            <a:off x="-477730" y="1257599"/>
            <a:ext cx="5597222" cy="4342799"/>
          </a:xfrm>
          <a:custGeom>
            <a:avLst/>
            <a:gdLst>
              <a:gd name="connsiteX0" fmla="*/ 3889232 w 4244988"/>
              <a:gd name="connsiteY0" fmla="*/ 612826 h 3293622"/>
              <a:gd name="connsiteX1" fmla="*/ 3617977 w 4244988"/>
              <a:gd name="connsiteY1" fmla="*/ 2928481 h 3293622"/>
              <a:gd name="connsiteX2" fmla="*/ 1299683 w 4244988"/>
              <a:gd name="connsiteY2" fmla="*/ 2680796 h 3293622"/>
              <a:gd name="connsiteX3" fmla="*/ 1224707 w 4244988"/>
              <a:gd name="connsiteY3" fmla="*/ 2579169 h 3293622"/>
              <a:gd name="connsiteX4" fmla="*/ 1163631 w 4244988"/>
              <a:gd name="connsiteY4" fmla="*/ 2481534 h 3293622"/>
              <a:gd name="connsiteX5" fmla="*/ 1162772 w 4244988"/>
              <a:gd name="connsiteY5" fmla="*/ 2482220 h 3293622"/>
              <a:gd name="connsiteX6" fmla="*/ 1066262 w 4244988"/>
              <a:gd name="connsiteY6" fmla="*/ 2329542 h 3293622"/>
              <a:gd name="connsiteX7" fmla="*/ 303465 w 4244988"/>
              <a:gd name="connsiteY7" fmla="*/ 1782295 h 3293622"/>
              <a:gd name="connsiteX8" fmla="*/ 160860 w 4244988"/>
              <a:gd name="connsiteY8" fmla="*/ 1769870 h 3293622"/>
              <a:gd name="connsiteX9" fmla="*/ 160172 w 4244988"/>
              <a:gd name="connsiteY9" fmla="*/ 1769009 h 3293622"/>
              <a:gd name="connsiteX10" fmla="*/ 106474 w 4244988"/>
              <a:gd name="connsiteY10" fmla="*/ 1769009 h 3293622"/>
              <a:gd name="connsiteX11" fmla="*/ 100125 w 4244988"/>
              <a:gd name="connsiteY11" fmla="*/ 1769873 h 3293622"/>
              <a:gd name="connsiteX12" fmla="*/ 21932 w 4244988"/>
              <a:gd name="connsiteY12" fmla="*/ 1732067 h 3293622"/>
              <a:gd name="connsiteX13" fmla="*/ 12753 w 4244988"/>
              <a:gd name="connsiteY13" fmla="*/ 1619690 h 3293622"/>
              <a:gd name="connsiteX14" fmla="*/ 29905 w 4244988"/>
              <a:gd name="connsiteY14" fmla="*/ 1599352 h 3293622"/>
              <a:gd name="connsiteX15" fmla="*/ 28165 w 4244988"/>
              <a:gd name="connsiteY15" fmla="*/ 1597173 h 3293622"/>
              <a:gd name="connsiteX16" fmla="*/ 39122 w 4244988"/>
              <a:gd name="connsiteY16" fmla="*/ 1588423 h 3293622"/>
              <a:gd name="connsiteX17" fmla="*/ 39125 w 4244988"/>
              <a:gd name="connsiteY17" fmla="*/ 1588420 h 3293622"/>
              <a:gd name="connsiteX18" fmla="*/ 39130 w 4244988"/>
              <a:gd name="connsiteY18" fmla="*/ 1588417 h 3293622"/>
              <a:gd name="connsiteX19" fmla="*/ 1570938 w 4244988"/>
              <a:gd name="connsiteY19" fmla="*/ 365142 h 3293622"/>
              <a:gd name="connsiteX20" fmla="*/ 1602119 w 4244988"/>
              <a:gd name="connsiteY20" fmla="*/ 340241 h 3293622"/>
              <a:gd name="connsiteX21" fmla="*/ 1603364 w 4244988"/>
              <a:gd name="connsiteY21" fmla="*/ 341800 h 3293622"/>
              <a:gd name="connsiteX22" fmla="*/ 1708605 w 4244988"/>
              <a:gd name="connsiteY22" fmla="*/ 266040 h 3293622"/>
              <a:gd name="connsiteX23" fmla="*/ 3889232 w 4244988"/>
              <a:gd name="connsiteY23" fmla="*/ 612826 h 32936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4244988" h="3293622">
                <a:moveTo>
                  <a:pt x="3889232" y="612826"/>
                </a:moveTo>
                <a:cubicBezTo>
                  <a:pt x="4454506" y="1320673"/>
                  <a:pt x="4333061" y="2357427"/>
                  <a:pt x="3617977" y="2928481"/>
                </a:cubicBezTo>
                <a:cubicBezTo>
                  <a:pt x="2902892" y="3499535"/>
                  <a:pt x="1864957" y="3388643"/>
                  <a:pt x="1299683" y="2680796"/>
                </a:cubicBezTo>
                <a:cubicBezTo>
                  <a:pt x="1273185" y="2647616"/>
                  <a:pt x="1248197" y="2613713"/>
                  <a:pt x="1224707" y="2579169"/>
                </a:cubicBezTo>
                <a:lnTo>
                  <a:pt x="1163631" y="2481534"/>
                </a:lnTo>
                <a:lnTo>
                  <a:pt x="1162772" y="2482220"/>
                </a:lnTo>
                <a:lnTo>
                  <a:pt x="1066262" y="2329542"/>
                </a:lnTo>
                <a:cubicBezTo>
                  <a:pt x="848799" y="2029269"/>
                  <a:pt x="561714" y="1833589"/>
                  <a:pt x="303465" y="1782295"/>
                </a:cubicBezTo>
                <a:lnTo>
                  <a:pt x="160860" y="1769870"/>
                </a:lnTo>
                <a:lnTo>
                  <a:pt x="160172" y="1769009"/>
                </a:lnTo>
                <a:lnTo>
                  <a:pt x="106474" y="1769009"/>
                </a:lnTo>
                <a:lnTo>
                  <a:pt x="100125" y="1769873"/>
                </a:lnTo>
                <a:cubicBezTo>
                  <a:pt x="70606" y="1769618"/>
                  <a:pt x="41612" y="1756710"/>
                  <a:pt x="21932" y="1732067"/>
                </a:cubicBezTo>
                <a:cubicBezTo>
                  <a:pt x="-4308" y="1699209"/>
                  <a:pt x="-6539" y="1654818"/>
                  <a:pt x="12753" y="1619690"/>
                </a:cubicBezTo>
                <a:lnTo>
                  <a:pt x="29905" y="1599352"/>
                </a:lnTo>
                <a:lnTo>
                  <a:pt x="28165" y="1597173"/>
                </a:lnTo>
                <a:lnTo>
                  <a:pt x="39122" y="1588423"/>
                </a:lnTo>
                <a:lnTo>
                  <a:pt x="39125" y="1588420"/>
                </a:lnTo>
                <a:lnTo>
                  <a:pt x="39130" y="1588417"/>
                </a:lnTo>
                <a:lnTo>
                  <a:pt x="1570938" y="365142"/>
                </a:lnTo>
                <a:lnTo>
                  <a:pt x="1602119" y="340241"/>
                </a:lnTo>
                <a:lnTo>
                  <a:pt x="1603364" y="341800"/>
                </a:lnTo>
                <a:lnTo>
                  <a:pt x="1708605" y="266040"/>
                </a:lnTo>
                <a:cubicBezTo>
                  <a:pt x="2413918" y="-189719"/>
                  <a:pt x="3359287" y="-50780"/>
                  <a:pt x="3889232" y="612826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err="1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352D865-6CBC-8FFB-A425-D0EE2F6D0C8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54486" y="1816473"/>
            <a:ext cx="10486652" cy="1888708"/>
          </a:xfrm>
        </p:spPr>
        <p:txBody>
          <a:bodyPr anchor="b">
            <a:noAutofit/>
          </a:bodyPr>
          <a:lstStyle>
            <a:lvl1pPr marL="180000" indent="-180000" algn="l">
              <a:defRPr sz="4000" b="0" baseline="0">
                <a:solidFill>
                  <a:schemeClr val="bg1"/>
                </a:solidFill>
              </a:defRPr>
            </a:lvl1pPr>
          </a:lstStyle>
          <a:p>
            <a:r>
              <a:rPr lang="en-GB" sz="4000" b="0" noProof="0"/>
              <a:t>‘This is a place for you to write a quote. Maximum three rows’</a:t>
            </a:r>
            <a:endParaRPr lang="en-GB" noProof="0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7FE89472-96CF-0DBE-F9C7-676F46F2CD1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356366" y="3915646"/>
            <a:ext cx="5978274" cy="647286"/>
          </a:xfrm>
        </p:spPr>
        <p:txBody>
          <a:bodyPr>
            <a:noAutofit/>
          </a:bodyPr>
          <a:lstStyle>
            <a:lvl1pPr marL="0" indent="0" algn="l">
              <a:buNone/>
              <a:defRPr sz="1400" b="0" cap="none" spc="15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151059285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with name (light purple bubb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0CA83DA-EE40-EF44-A7A2-D06B04FEBF17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err="1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C8F109A-BBAF-3A4A-8A20-08F5F12C6D72}"/>
              </a:ext>
            </a:extLst>
          </p:cNvPr>
          <p:cNvSpPr/>
          <p:nvPr userDrawn="1"/>
        </p:nvSpPr>
        <p:spPr>
          <a:xfrm>
            <a:off x="892" y="115888"/>
            <a:ext cx="12191108" cy="619283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45B9E2D-53D2-FB42-8461-8AB281125570}"/>
              </a:ext>
            </a:extLst>
          </p:cNvPr>
          <p:cNvSpPr txBox="1">
            <a:spLocks/>
          </p:cNvSpPr>
          <p:nvPr userDrawn="1"/>
        </p:nvSpPr>
        <p:spPr>
          <a:xfrm>
            <a:off x="11369993" y="6456998"/>
            <a:ext cx="271144" cy="17526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sv-SE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F2B5CF4-79E2-4BCE-8F81-53ED60D4893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968B16D-7684-534A-8FE2-F0CF1DAF0364}"/>
              </a:ext>
            </a:extLst>
          </p:cNvPr>
          <p:cNvCxnSpPr/>
          <p:nvPr userDrawn="1"/>
        </p:nvCxnSpPr>
        <p:spPr>
          <a:xfrm flipH="1">
            <a:off x="11369993" y="6635115"/>
            <a:ext cx="27114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0840860B-1D3E-B94B-ABD1-244B916461ED}"/>
              </a:ext>
            </a:extLst>
          </p:cNvPr>
          <p:cNvSpPr txBox="1"/>
          <p:nvPr userDrawn="1"/>
        </p:nvSpPr>
        <p:spPr>
          <a:xfrm flipH="1">
            <a:off x="550863" y="6595778"/>
            <a:ext cx="1652387" cy="1077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400" cap="all" spc="80">
                <a:solidFill>
                  <a:schemeClr val="bg1"/>
                </a:solidFill>
              </a:rPr>
              <a:t>©</a:t>
            </a:r>
            <a:r>
              <a:rPr lang="en-US" sz="400" cap="all" spc="0" baseline="0">
                <a:solidFill>
                  <a:schemeClr val="bg1"/>
                </a:solidFill>
              </a:rPr>
              <a:t> </a:t>
            </a:r>
            <a:r>
              <a:rPr lang="en-US" sz="400" cap="all" spc="80">
                <a:solidFill>
                  <a:schemeClr val="bg1"/>
                </a:solidFill>
              </a:rPr>
              <a:t>Oriflame Cosmetics</a:t>
            </a:r>
            <a:r>
              <a:rPr lang="en-US" sz="400" cap="all" spc="80" baseline="0">
                <a:solidFill>
                  <a:schemeClr val="bg1"/>
                </a:solidFill>
              </a:rPr>
              <a:t> AG,2023</a:t>
            </a:r>
            <a:endParaRPr lang="en-US" sz="1600" cap="all" spc="80">
              <a:solidFill>
                <a:schemeClr val="bg1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6193476F-BB0E-7E43-862B-BF3876E087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87908" y="6299505"/>
            <a:ext cx="1422989" cy="491798"/>
          </a:xfrm>
          <a:prstGeom prst="rect">
            <a:avLst/>
          </a:prstGeom>
        </p:spPr>
      </p:pic>
      <p:sp>
        <p:nvSpPr>
          <p:cNvPr id="12" name="Freeform 11">
            <a:extLst>
              <a:ext uri="{FF2B5EF4-FFF2-40B4-BE49-F238E27FC236}">
                <a16:creationId xmlns:a16="http://schemas.microsoft.com/office/drawing/2014/main" id="{56C54B5F-4342-4E7C-8F8F-1C0D47DA7D24}"/>
              </a:ext>
            </a:extLst>
          </p:cNvPr>
          <p:cNvSpPr/>
          <p:nvPr userDrawn="1"/>
        </p:nvSpPr>
        <p:spPr>
          <a:xfrm rot="18516616">
            <a:off x="-477730" y="1257599"/>
            <a:ext cx="5597222" cy="4342799"/>
          </a:xfrm>
          <a:custGeom>
            <a:avLst/>
            <a:gdLst>
              <a:gd name="connsiteX0" fmla="*/ 3889232 w 4244988"/>
              <a:gd name="connsiteY0" fmla="*/ 612826 h 3293622"/>
              <a:gd name="connsiteX1" fmla="*/ 3617977 w 4244988"/>
              <a:gd name="connsiteY1" fmla="*/ 2928481 h 3293622"/>
              <a:gd name="connsiteX2" fmla="*/ 1299683 w 4244988"/>
              <a:gd name="connsiteY2" fmla="*/ 2680796 h 3293622"/>
              <a:gd name="connsiteX3" fmla="*/ 1224707 w 4244988"/>
              <a:gd name="connsiteY3" fmla="*/ 2579169 h 3293622"/>
              <a:gd name="connsiteX4" fmla="*/ 1163631 w 4244988"/>
              <a:gd name="connsiteY4" fmla="*/ 2481534 h 3293622"/>
              <a:gd name="connsiteX5" fmla="*/ 1162772 w 4244988"/>
              <a:gd name="connsiteY5" fmla="*/ 2482220 h 3293622"/>
              <a:gd name="connsiteX6" fmla="*/ 1066262 w 4244988"/>
              <a:gd name="connsiteY6" fmla="*/ 2329542 h 3293622"/>
              <a:gd name="connsiteX7" fmla="*/ 303465 w 4244988"/>
              <a:gd name="connsiteY7" fmla="*/ 1782295 h 3293622"/>
              <a:gd name="connsiteX8" fmla="*/ 160860 w 4244988"/>
              <a:gd name="connsiteY8" fmla="*/ 1769870 h 3293622"/>
              <a:gd name="connsiteX9" fmla="*/ 160172 w 4244988"/>
              <a:gd name="connsiteY9" fmla="*/ 1769009 h 3293622"/>
              <a:gd name="connsiteX10" fmla="*/ 106474 w 4244988"/>
              <a:gd name="connsiteY10" fmla="*/ 1769009 h 3293622"/>
              <a:gd name="connsiteX11" fmla="*/ 100125 w 4244988"/>
              <a:gd name="connsiteY11" fmla="*/ 1769873 h 3293622"/>
              <a:gd name="connsiteX12" fmla="*/ 21932 w 4244988"/>
              <a:gd name="connsiteY12" fmla="*/ 1732067 h 3293622"/>
              <a:gd name="connsiteX13" fmla="*/ 12753 w 4244988"/>
              <a:gd name="connsiteY13" fmla="*/ 1619690 h 3293622"/>
              <a:gd name="connsiteX14" fmla="*/ 29905 w 4244988"/>
              <a:gd name="connsiteY14" fmla="*/ 1599352 h 3293622"/>
              <a:gd name="connsiteX15" fmla="*/ 28165 w 4244988"/>
              <a:gd name="connsiteY15" fmla="*/ 1597173 h 3293622"/>
              <a:gd name="connsiteX16" fmla="*/ 39122 w 4244988"/>
              <a:gd name="connsiteY16" fmla="*/ 1588423 h 3293622"/>
              <a:gd name="connsiteX17" fmla="*/ 39125 w 4244988"/>
              <a:gd name="connsiteY17" fmla="*/ 1588420 h 3293622"/>
              <a:gd name="connsiteX18" fmla="*/ 39130 w 4244988"/>
              <a:gd name="connsiteY18" fmla="*/ 1588417 h 3293622"/>
              <a:gd name="connsiteX19" fmla="*/ 1570938 w 4244988"/>
              <a:gd name="connsiteY19" fmla="*/ 365142 h 3293622"/>
              <a:gd name="connsiteX20" fmla="*/ 1602119 w 4244988"/>
              <a:gd name="connsiteY20" fmla="*/ 340241 h 3293622"/>
              <a:gd name="connsiteX21" fmla="*/ 1603364 w 4244988"/>
              <a:gd name="connsiteY21" fmla="*/ 341800 h 3293622"/>
              <a:gd name="connsiteX22" fmla="*/ 1708605 w 4244988"/>
              <a:gd name="connsiteY22" fmla="*/ 266040 h 3293622"/>
              <a:gd name="connsiteX23" fmla="*/ 3889232 w 4244988"/>
              <a:gd name="connsiteY23" fmla="*/ 612826 h 32936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4244988" h="3293622">
                <a:moveTo>
                  <a:pt x="3889232" y="612826"/>
                </a:moveTo>
                <a:cubicBezTo>
                  <a:pt x="4454506" y="1320673"/>
                  <a:pt x="4333061" y="2357427"/>
                  <a:pt x="3617977" y="2928481"/>
                </a:cubicBezTo>
                <a:cubicBezTo>
                  <a:pt x="2902892" y="3499535"/>
                  <a:pt x="1864957" y="3388643"/>
                  <a:pt x="1299683" y="2680796"/>
                </a:cubicBezTo>
                <a:cubicBezTo>
                  <a:pt x="1273185" y="2647616"/>
                  <a:pt x="1248197" y="2613713"/>
                  <a:pt x="1224707" y="2579169"/>
                </a:cubicBezTo>
                <a:lnTo>
                  <a:pt x="1163631" y="2481534"/>
                </a:lnTo>
                <a:lnTo>
                  <a:pt x="1162772" y="2482220"/>
                </a:lnTo>
                <a:lnTo>
                  <a:pt x="1066262" y="2329542"/>
                </a:lnTo>
                <a:cubicBezTo>
                  <a:pt x="848799" y="2029269"/>
                  <a:pt x="561714" y="1833589"/>
                  <a:pt x="303465" y="1782295"/>
                </a:cubicBezTo>
                <a:lnTo>
                  <a:pt x="160860" y="1769870"/>
                </a:lnTo>
                <a:lnTo>
                  <a:pt x="160172" y="1769009"/>
                </a:lnTo>
                <a:lnTo>
                  <a:pt x="106474" y="1769009"/>
                </a:lnTo>
                <a:lnTo>
                  <a:pt x="100125" y="1769873"/>
                </a:lnTo>
                <a:cubicBezTo>
                  <a:pt x="70606" y="1769618"/>
                  <a:pt x="41612" y="1756710"/>
                  <a:pt x="21932" y="1732067"/>
                </a:cubicBezTo>
                <a:cubicBezTo>
                  <a:pt x="-4308" y="1699209"/>
                  <a:pt x="-6539" y="1654818"/>
                  <a:pt x="12753" y="1619690"/>
                </a:cubicBezTo>
                <a:lnTo>
                  <a:pt x="29905" y="1599352"/>
                </a:lnTo>
                <a:lnTo>
                  <a:pt x="28165" y="1597173"/>
                </a:lnTo>
                <a:lnTo>
                  <a:pt x="39122" y="1588423"/>
                </a:lnTo>
                <a:lnTo>
                  <a:pt x="39125" y="1588420"/>
                </a:lnTo>
                <a:lnTo>
                  <a:pt x="39130" y="1588417"/>
                </a:lnTo>
                <a:lnTo>
                  <a:pt x="1570938" y="365142"/>
                </a:lnTo>
                <a:lnTo>
                  <a:pt x="1602119" y="340241"/>
                </a:lnTo>
                <a:lnTo>
                  <a:pt x="1603364" y="341800"/>
                </a:lnTo>
                <a:lnTo>
                  <a:pt x="1708605" y="266040"/>
                </a:lnTo>
                <a:cubicBezTo>
                  <a:pt x="2413918" y="-189719"/>
                  <a:pt x="3359287" y="-50780"/>
                  <a:pt x="3889232" y="61282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err="1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5CCCFB2D-5A04-40EE-7E91-31414AC94CF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54486" y="1816473"/>
            <a:ext cx="10486652" cy="1888708"/>
          </a:xfrm>
        </p:spPr>
        <p:txBody>
          <a:bodyPr anchor="b">
            <a:noAutofit/>
          </a:bodyPr>
          <a:lstStyle>
            <a:lvl1pPr marL="180000" indent="-180000" algn="l">
              <a:defRPr sz="4000" b="0" baseline="0">
                <a:solidFill>
                  <a:schemeClr val="tx1"/>
                </a:solidFill>
              </a:defRPr>
            </a:lvl1pPr>
          </a:lstStyle>
          <a:p>
            <a:r>
              <a:rPr lang="en-GB" sz="4000" b="0" noProof="0"/>
              <a:t>‘This is a place for you to write a quote. Maximum three rows’</a:t>
            </a:r>
            <a:endParaRPr lang="en-GB" noProof="0"/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B1448B82-8031-B95B-C852-30393977C08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356366" y="3915646"/>
            <a:ext cx="5978274" cy="647286"/>
          </a:xfrm>
        </p:spPr>
        <p:txBody>
          <a:bodyPr>
            <a:noAutofit/>
          </a:bodyPr>
          <a:lstStyle>
            <a:lvl1pPr marL="0" indent="0" algn="l">
              <a:buNone/>
              <a:defRPr sz="1400" b="0" cap="none" spc="15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323395319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with name (light orange bubb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0CA83DA-EE40-EF44-A7A2-D06B04FEBF17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err="1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C8F109A-BBAF-3A4A-8A20-08F5F12C6D72}"/>
              </a:ext>
            </a:extLst>
          </p:cNvPr>
          <p:cNvSpPr/>
          <p:nvPr userDrawn="1"/>
        </p:nvSpPr>
        <p:spPr>
          <a:xfrm>
            <a:off x="892" y="115888"/>
            <a:ext cx="12191108" cy="619283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45B9E2D-53D2-FB42-8461-8AB281125570}"/>
              </a:ext>
            </a:extLst>
          </p:cNvPr>
          <p:cNvSpPr txBox="1">
            <a:spLocks/>
          </p:cNvSpPr>
          <p:nvPr userDrawn="1"/>
        </p:nvSpPr>
        <p:spPr>
          <a:xfrm>
            <a:off x="11369993" y="6456998"/>
            <a:ext cx="271144" cy="17526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sv-SE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F2B5CF4-79E2-4BCE-8F81-53ED60D4893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968B16D-7684-534A-8FE2-F0CF1DAF0364}"/>
              </a:ext>
            </a:extLst>
          </p:cNvPr>
          <p:cNvCxnSpPr/>
          <p:nvPr userDrawn="1"/>
        </p:nvCxnSpPr>
        <p:spPr>
          <a:xfrm flipH="1">
            <a:off x="11369993" y="6635115"/>
            <a:ext cx="27114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0840860B-1D3E-B94B-ABD1-244B916461ED}"/>
              </a:ext>
            </a:extLst>
          </p:cNvPr>
          <p:cNvSpPr txBox="1"/>
          <p:nvPr userDrawn="1"/>
        </p:nvSpPr>
        <p:spPr>
          <a:xfrm flipH="1">
            <a:off x="550863" y="6595778"/>
            <a:ext cx="1652387" cy="1077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400" cap="all" spc="80">
                <a:solidFill>
                  <a:schemeClr val="bg1"/>
                </a:solidFill>
              </a:rPr>
              <a:t>©</a:t>
            </a:r>
            <a:r>
              <a:rPr lang="en-US" sz="400" cap="all" spc="0" baseline="0">
                <a:solidFill>
                  <a:schemeClr val="bg1"/>
                </a:solidFill>
              </a:rPr>
              <a:t> </a:t>
            </a:r>
            <a:r>
              <a:rPr lang="en-US" sz="400" cap="all" spc="80">
                <a:solidFill>
                  <a:schemeClr val="bg1"/>
                </a:solidFill>
              </a:rPr>
              <a:t>Oriflame Cosmetics</a:t>
            </a:r>
            <a:r>
              <a:rPr lang="en-US" sz="400" cap="all" spc="80" baseline="0">
                <a:solidFill>
                  <a:schemeClr val="bg1"/>
                </a:solidFill>
              </a:rPr>
              <a:t> AG,2023</a:t>
            </a:r>
            <a:endParaRPr lang="en-US" sz="1600" cap="all" spc="80">
              <a:solidFill>
                <a:schemeClr val="bg1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6193476F-BB0E-7E43-862B-BF3876E087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87908" y="6299505"/>
            <a:ext cx="1422989" cy="491798"/>
          </a:xfrm>
          <a:prstGeom prst="rect">
            <a:avLst/>
          </a:prstGeom>
        </p:spPr>
      </p:pic>
      <p:sp>
        <p:nvSpPr>
          <p:cNvPr id="12" name="Freeform 11">
            <a:extLst>
              <a:ext uri="{FF2B5EF4-FFF2-40B4-BE49-F238E27FC236}">
                <a16:creationId xmlns:a16="http://schemas.microsoft.com/office/drawing/2014/main" id="{56C54B5F-4342-4E7C-8F8F-1C0D47DA7D24}"/>
              </a:ext>
            </a:extLst>
          </p:cNvPr>
          <p:cNvSpPr/>
          <p:nvPr userDrawn="1"/>
        </p:nvSpPr>
        <p:spPr>
          <a:xfrm rot="18516616">
            <a:off x="-477730" y="1257599"/>
            <a:ext cx="5597222" cy="4342799"/>
          </a:xfrm>
          <a:custGeom>
            <a:avLst/>
            <a:gdLst>
              <a:gd name="connsiteX0" fmla="*/ 3889232 w 4244988"/>
              <a:gd name="connsiteY0" fmla="*/ 612826 h 3293622"/>
              <a:gd name="connsiteX1" fmla="*/ 3617977 w 4244988"/>
              <a:gd name="connsiteY1" fmla="*/ 2928481 h 3293622"/>
              <a:gd name="connsiteX2" fmla="*/ 1299683 w 4244988"/>
              <a:gd name="connsiteY2" fmla="*/ 2680796 h 3293622"/>
              <a:gd name="connsiteX3" fmla="*/ 1224707 w 4244988"/>
              <a:gd name="connsiteY3" fmla="*/ 2579169 h 3293622"/>
              <a:gd name="connsiteX4" fmla="*/ 1163631 w 4244988"/>
              <a:gd name="connsiteY4" fmla="*/ 2481534 h 3293622"/>
              <a:gd name="connsiteX5" fmla="*/ 1162772 w 4244988"/>
              <a:gd name="connsiteY5" fmla="*/ 2482220 h 3293622"/>
              <a:gd name="connsiteX6" fmla="*/ 1066262 w 4244988"/>
              <a:gd name="connsiteY6" fmla="*/ 2329542 h 3293622"/>
              <a:gd name="connsiteX7" fmla="*/ 303465 w 4244988"/>
              <a:gd name="connsiteY7" fmla="*/ 1782295 h 3293622"/>
              <a:gd name="connsiteX8" fmla="*/ 160860 w 4244988"/>
              <a:gd name="connsiteY8" fmla="*/ 1769870 h 3293622"/>
              <a:gd name="connsiteX9" fmla="*/ 160172 w 4244988"/>
              <a:gd name="connsiteY9" fmla="*/ 1769009 h 3293622"/>
              <a:gd name="connsiteX10" fmla="*/ 106474 w 4244988"/>
              <a:gd name="connsiteY10" fmla="*/ 1769009 h 3293622"/>
              <a:gd name="connsiteX11" fmla="*/ 100125 w 4244988"/>
              <a:gd name="connsiteY11" fmla="*/ 1769873 h 3293622"/>
              <a:gd name="connsiteX12" fmla="*/ 21932 w 4244988"/>
              <a:gd name="connsiteY12" fmla="*/ 1732067 h 3293622"/>
              <a:gd name="connsiteX13" fmla="*/ 12753 w 4244988"/>
              <a:gd name="connsiteY13" fmla="*/ 1619690 h 3293622"/>
              <a:gd name="connsiteX14" fmla="*/ 29905 w 4244988"/>
              <a:gd name="connsiteY14" fmla="*/ 1599352 h 3293622"/>
              <a:gd name="connsiteX15" fmla="*/ 28165 w 4244988"/>
              <a:gd name="connsiteY15" fmla="*/ 1597173 h 3293622"/>
              <a:gd name="connsiteX16" fmla="*/ 39122 w 4244988"/>
              <a:gd name="connsiteY16" fmla="*/ 1588423 h 3293622"/>
              <a:gd name="connsiteX17" fmla="*/ 39125 w 4244988"/>
              <a:gd name="connsiteY17" fmla="*/ 1588420 h 3293622"/>
              <a:gd name="connsiteX18" fmla="*/ 39130 w 4244988"/>
              <a:gd name="connsiteY18" fmla="*/ 1588417 h 3293622"/>
              <a:gd name="connsiteX19" fmla="*/ 1570938 w 4244988"/>
              <a:gd name="connsiteY19" fmla="*/ 365142 h 3293622"/>
              <a:gd name="connsiteX20" fmla="*/ 1602119 w 4244988"/>
              <a:gd name="connsiteY20" fmla="*/ 340241 h 3293622"/>
              <a:gd name="connsiteX21" fmla="*/ 1603364 w 4244988"/>
              <a:gd name="connsiteY21" fmla="*/ 341800 h 3293622"/>
              <a:gd name="connsiteX22" fmla="*/ 1708605 w 4244988"/>
              <a:gd name="connsiteY22" fmla="*/ 266040 h 3293622"/>
              <a:gd name="connsiteX23" fmla="*/ 3889232 w 4244988"/>
              <a:gd name="connsiteY23" fmla="*/ 612826 h 32936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4244988" h="3293622">
                <a:moveTo>
                  <a:pt x="3889232" y="612826"/>
                </a:moveTo>
                <a:cubicBezTo>
                  <a:pt x="4454506" y="1320673"/>
                  <a:pt x="4333061" y="2357427"/>
                  <a:pt x="3617977" y="2928481"/>
                </a:cubicBezTo>
                <a:cubicBezTo>
                  <a:pt x="2902892" y="3499535"/>
                  <a:pt x="1864957" y="3388643"/>
                  <a:pt x="1299683" y="2680796"/>
                </a:cubicBezTo>
                <a:cubicBezTo>
                  <a:pt x="1273185" y="2647616"/>
                  <a:pt x="1248197" y="2613713"/>
                  <a:pt x="1224707" y="2579169"/>
                </a:cubicBezTo>
                <a:lnTo>
                  <a:pt x="1163631" y="2481534"/>
                </a:lnTo>
                <a:lnTo>
                  <a:pt x="1162772" y="2482220"/>
                </a:lnTo>
                <a:lnTo>
                  <a:pt x="1066262" y="2329542"/>
                </a:lnTo>
                <a:cubicBezTo>
                  <a:pt x="848799" y="2029269"/>
                  <a:pt x="561714" y="1833589"/>
                  <a:pt x="303465" y="1782295"/>
                </a:cubicBezTo>
                <a:lnTo>
                  <a:pt x="160860" y="1769870"/>
                </a:lnTo>
                <a:lnTo>
                  <a:pt x="160172" y="1769009"/>
                </a:lnTo>
                <a:lnTo>
                  <a:pt x="106474" y="1769009"/>
                </a:lnTo>
                <a:lnTo>
                  <a:pt x="100125" y="1769873"/>
                </a:lnTo>
                <a:cubicBezTo>
                  <a:pt x="70606" y="1769618"/>
                  <a:pt x="41612" y="1756710"/>
                  <a:pt x="21932" y="1732067"/>
                </a:cubicBezTo>
                <a:cubicBezTo>
                  <a:pt x="-4308" y="1699209"/>
                  <a:pt x="-6539" y="1654818"/>
                  <a:pt x="12753" y="1619690"/>
                </a:cubicBezTo>
                <a:lnTo>
                  <a:pt x="29905" y="1599352"/>
                </a:lnTo>
                <a:lnTo>
                  <a:pt x="28165" y="1597173"/>
                </a:lnTo>
                <a:lnTo>
                  <a:pt x="39122" y="1588423"/>
                </a:lnTo>
                <a:lnTo>
                  <a:pt x="39125" y="1588420"/>
                </a:lnTo>
                <a:lnTo>
                  <a:pt x="39130" y="1588417"/>
                </a:lnTo>
                <a:lnTo>
                  <a:pt x="1570938" y="365142"/>
                </a:lnTo>
                <a:lnTo>
                  <a:pt x="1602119" y="340241"/>
                </a:lnTo>
                <a:lnTo>
                  <a:pt x="1603364" y="341800"/>
                </a:lnTo>
                <a:lnTo>
                  <a:pt x="1708605" y="266040"/>
                </a:lnTo>
                <a:cubicBezTo>
                  <a:pt x="2413918" y="-189719"/>
                  <a:pt x="3359287" y="-50780"/>
                  <a:pt x="3889232" y="612826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err="1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5CCCFB2D-5A04-40EE-7E91-31414AC94CF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54486" y="1816473"/>
            <a:ext cx="10486652" cy="1888708"/>
          </a:xfrm>
        </p:spPr>
        <p:txBody>
          <a:bodyPr anchor="b">
            <a:noAutofit/>
          </a:bodyPr>
          <a:lstStyle>
            <a:lvl1pPr marL="180000" indent="-180000" algn="l">
              <a:defRPr sz="4000" b="0" baseline="0">
                <a:solidFill>
                  <a:schemeClr val="tx1"/>
                </a:solidFill>
              </a:defRPr>
            </a:lvl1pPr>
          </a:lstStyle>
          <a:p>
            <a:r>
              <a:rPr lang="en-GB" sz="4000" b="0" noProof="0"/>
              <a:t>‘This is a place for you to write a quote. Maximum three rows’</a:t>
            </a:r>
            <a:endParaRPr lang="en-GB" noProof="0"/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B1448B82-8031-B95B-C852-30393977C08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356366" y="3915646"/>
            <a:ext cx="5978274" cy="647286"/>
          </a:xfrm>
        </p:spPr>
        <p:txBody>
          <a:bodyPr>
            <a:noAutofit/>
          </a:bodyPr>
          <a:lstStyle>
            <a:lvl1pPr marL="0" indent="0" algn="l">
              <a:buNone/>
              <a:defRPr sz="1400" b="0" cap="none" spc="15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60561339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2H logo on purple – anima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F2B5CF4-79E2-4BCE-8F81-53ED60D4893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E9AA6CD-F620-BB60-765E-FFF4DF5434E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9800" y="873852"/>
            <a:ext cx="7772400" cy="4371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1035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 page – short title, stat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122683E-5468-514C-BCB5-D3D3718898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73256"/>
            <a:ext cx="8112124" cy="6584744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E8A2DF4A-A164-F647-AD86-68A50D3EB7C6}"/>
              </a:ext>
            </a:extLst>
          </p:cNvPr>
          <p:cNvSpPr/>
          <p:nvPr userDrawn="1"/>
        </p:nvSpPr>
        <p:spPr>
          <a:xfrm>
            <a:off x="8112125" y="0"/>
            <a:ext cx="4079875" cy="57340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err="1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44694" y="5985530"/>
            <a:ext cx="2022613" cy="380437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F55D29AC-BBE0-5740-96B3-640A6717E77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512639" y="1791131"/>
            <a:ext cx="3278952" cy="2090757"/>
          </a:xfrm>
        </p:spPr>
        <p:txBody>
          <a:bodyPr anchor="b">
            <a:noAutofit/>
          </a:bodyPr>
          <a:lstStyle>
            <a:lvl1pPr algn="ctr">
              <a:defRPr sz="4500" spc="-15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Title of your presentation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282E55A2-B11A-2E42-AA77-90E93C114C6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512881" y="4029084"/>
            <a:ext cx="3298119" cy="1421358"/>
          </a:xfrm>
        </p:spPr>
        <p:txBody>
          <a:bodyPr>
            <a:noAutofit/>
          </a:bodyPr>
          <a:lstStyle>
            <a:lvl1pPr marL="0" indent="0" algn="ctr">
              <a:buNone/>
              <a:defRPr sz="1800" kern="2000" spc="1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Sub tit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64F3369-3B21-E03D-6AC3-E5E8EF4D348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68711" y="457854"/>
            <a:ext cx="2250610" cy="1175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917067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2H logo on white – anima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F2B5CF4-79E2-4BCE-8F81-53ED60D489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1804F1F-EF22-7A43-A660-A2C464D2FE94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err="1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B4DE543-C6C3-5C4E-90F1-1017BA21CB5D}"/>
              </a:ext>
            </a:extLst>
          </p:cNvPr>
          <p:cNvSpPr/>
          <p:nvPr userDrawn="1"/>
        </p:nvSpPr>
        <p:spPr>
          <a:xfrm>
            <a:off x="892" y="115888"/>
            <a:ext cx="12191108" cy="619283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0674692-84F8-894A-B070-B10B511A08E9}"/>
              </a:ext>
            </a:extLst>
          </p:cNvPr>
          <p:cNvSpPr txBox="1">
            <a:spLocks/>
          </p:cNvSpPr>
          <p:nvPr userDrawn="1"/>
        </p:nvSpPr>
        <p:spPr>
          <a:xfrm>
            <a:off x="11369993" y="6456998"/>
            <a:ext cx="271144" cy="17526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sv-SE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F2B5CF4-79E2-4BCE-8F81-53ED60D4893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3F8EEC5-3542-CA46-B79C-66E9710915B0}"/>
              </a:ext>
            </a:extLst>
          </p:cNvPr>
          <p:cNvCxnSpPr/>
          <p:nvPr userDrawn="1"/>
        </p:nvCxnSpPr>
        <p:spPr>
          <a:xfrm flipH="1">
            <a:off x="11369993" y="6635115"/>
            <a:ext cx="27114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2797A4FD-1F02-E14D-8CFC-2369A71FCFB1}"/>
              </a:ext>
            </a:extLst>
          </p:cNvPr>
          <p:cNvCxnSpPr/>
          <p:nvPr userDrawn="1"/>
        </p:nvCxnSpPr>
        <p:spPr>
          <a:xfrm flipH="1">
            <a:off x="11369993" y="6442437"/>
            <a:ext cx="27114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DFEB2B0B-3498-C846-8B12-766E57E396FF}"/>
              </a:ext>
            </a:extLst>
          </p:cNvPr>
          <p:cNvSpPr txBox="1"/>
          <p:nvPr userDrawn="1"/>
        </p:nvSpPr>
        <p:spPr>
          <a:xfrm flipH="1">
            <a:off x="550863" y="6595778"/>
            <a:ext cx="1652387" cy="1077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400" cap="all" spc="80">
                <a:solidFill>
                  <a:schemeClr val="bg1"/>
                </a:solidFill>
              </a:rPr>
              <a:t>©</a:t>
            </a:r>
            <a:r>
              <a:rPr lang="en-US" sz="400" cap="all" spc="0" baseline="0">
                <a:solidFill>
                  <a:schemeClr val="bg1"/>
                </a:solidFill>
              </a:rPr>
              <a:t> </a:t>
            </a:r>
            <a:r>
              <a:rPr lang="en-US" sz="400" cap="all" spc="80">
                <a:solidFill>
                  <a:schemeClr val="bg1"/>
                </a:solidFill>
              </a:rPr>
              <a:t>Oriflame Cosmetics</a:t>
            </a:r>
            <a:r>
              <a:rPr lang="en-US" sz="400" cap="all" spc="80" baseline="0">
                <a:solidFill>
                  <a:schemeClr val="bg1"/>
                </a:solidFill>
              </a:rPr>
              <a:t> AG,202</a:t>
            </a:r>
            <a:endParaRPr lang="en-US" sz="1600" cap="all" spc="80">
              <a:solidFill>
                <a:schemeClr val="bg1"/>
              </a:solidFill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166AF07F-D6BB-4847-BC6A-3E03101565E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87908" y="6299505"/>
            <a:ext cx="1422989" cy="491798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56C997DB-FD5C-5BB1-AF80-D0D0AD70DEB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09800" y="873852"/>
            <a:ext cx="7772400" cy="4371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228916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2H logo on purple – stat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F2B5CF4-79E2-4BCE-8F81-53ED60D4893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E9AA6CD-F620-BB60-765E-FFF4DF5434E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09800" y="1030681"/>
            <a:ext cx="7772400" cy="40583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483312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2H logo on white – stat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F2B5CF4-79E2-4BCE-8F81-53ED60D489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1804F1F-EF22-7A43-A660-A2C464D2FE94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err="1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B4DE543-C6C3-5C4E-90F1-1017BA21CB5D}"/>
              </a:ext>
            </a:extLst>
          </p:cNvPr>
          <p:cNvSpPr/>
          <p:nvPr userDrawn="1"/>
        </p:nvSpPr>
        <p:spPr>
          <a:xfrm>
            <a:off x="892" y="115888"/>
            <a:ext cx="12191108" cy="619283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0674692-84F8-894A-B070-B10B511A08E9}"/>
              </a:ext>
            </a:extLst>
          </p:cNvPr>
          <p:cNvSpPr txBox="1">
            <a:spLocks/>
          </p:cNvSpPr>
          <p:nvPr userDrawn="1"/>
        </p:nvSpPr>
        <p:spPr>
          <a:xfrm>
            <a:off x="11369993" y="6456998"/>
            <a:ext cx="271144" cy="17526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sv-SE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F2B5CF4-79E2-4BCE-8F81-53ED60D4893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3F8EEC5-3542-CA46-B79C-66E9710915B0}"/>
              </a:ext>
            </a:extLst>
          </p:cNvPr>
          <p:cNvCxnSpPr/>
          <p:nvPr userDrawn="1"/>
        </p:nvCxnSpPr>
        <p:spPr>
          <a:xfrm flipH="1">
            <a:off x="11369993" y="6635115"/>
            <a:ext cx="27114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2797A4FD-1F02-E14D-8CFC-2369A71FCFB1}"/>
              </a:ext>
            </a:extLst>
          </p:cNvPr>
          <p:cNvCxnSpPr/>
          <p:nvPr userDrawn="1"/>
        </p:nvCxnSpPr>
        <p:spPr>
          <a:xfrm flipH="1">
            <a:off x="11369993" y="6442437"/>
            <a:ext cx="27114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DFEB2B0B-3498-C846-8B12-766E57E396FF}"/>
              </a:ext>
            </a:extLst>
          </p:cNvPr>
          <p:cNvSpPr txBox="1"/>
          <p:nvPr userDrawn="1"/>
        </p:nvSpPr>
        <p:spPr>
          <a:xfrm flipH="1">
            <a:off x="550863" y="6595778"/>
            <a:ext cx="1652387" cy="1077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400" cap="all" spc="80">
                <a:solidFill>
                  <a:schemeClr val="bg1"/>
                </a:solidFill>
              </a:rPr>
              <a:t>©</a:t>
            </a:r>
            <a:r>
              <a:rPr lang="en-US" sz="400" cap="all" spc="0" baseline="0">
                <a:solidFill>
                  <a:schemeClr val="bg1"/>
                </a:solidFill>
              </a:rPr>
              <a:t> </a:t>
            </a:r>
            <a:r>
              <a:rPr lang="en-US" sz="400" cap="all" spc="80">
                <a:solidFill>
                  <a:schemeClr val="bg1"/>
                </a:solidFill>
              </a:rPr>
              <a:t>Oriflame Cosmetics</a:t>
            </a:r>
            <a:r>
              <a:rPr lang="en-US" sz="400" cap="all" spc="80" baseline="0">
                <a:solidFill>
                  <a:schemeClr val="bg1"/>
                </a:solidFill>
              </a:rPr>
              <a:t> AG,202</a:t>
            </a:r>
            <a:endParaRPr lang="en-US" sz="1600" cap="all" spc="80">
              <a:solidFill>
                <a:schemeClr val="bg1"/>
              </a:solidFill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166AF07F-D6BB-4847-BC6A-3E03101565E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87908" y="6299505"/>
            <a:ext cx="1422989" cy="491798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56C997DB-FD5C-5BB1-AF80-D0D0AD70DEB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09800" y="1031717"/>
            <a:ext cx="7772400" cy="40583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078727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purp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F2B5CF4-79E2-4BCE-8F81-53ED60D4893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396857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F2B5CF4-79E2-4BCE-8F81-53ED60D4893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1804F1F-EF22-7A43-A660-A2C464D2FE94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err="1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B4DE543-C6C3-5C4E-90F1-1017BA21CB5D}"/>
              </a:ext>
            </a:extLst>
          </p:cNvPr>
          <p:cNvSpPr/>
          <p:nvPr userDrawn="1"/>
        </p:nvSpPr>
        <p:spPr>
          <a:xfrm>
            <a:off x="892" y="115888"/>
            <a:ext cx="12191108" cy="619283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0674692-84F8-894A-B070-B10B511A08E9}"/>
              </a:ext>
            </a:extLst>
          </p:cNvPr>
          <p:cNvSpPr txBox="1">
            <a:spLocks/>
          </p:cNvSpPr>
          <p:nvPr userDrawn="1"/>
        </p:nvSpPr>
        <p:spPr>
          <a:xfrm>
            <a:off x="11369993" y="6456998"/>
            <a:ext cx="271144" cy="17526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sv-SE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F2B5CF4-79E2-4BCE-8F81-53ED60D4893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3F8EEC5-3542-CA46-B79C-66E9710915B0}"/>
              </a:ext>
            </a:extLst>
          </p:cNvPr>
          <p:cNvCxnSpPr/>
          <p:nvPr userDrawn="1"/>
        </p:nvCxnSpPr>
        <p:spPr>
          <a:xfrm flipH="1">
            <a:off x="11369993" y="6635115"/>
            <a:ext cx="27114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2797A4FD-1F02-E14D-8CFC-2369A71FCFB1}"/>
              </a:ext>
            </a:extLst>
          </p:cNvPr>
          <p:cNvCxnSpPr/>
          <p:nvPr userDrawn="1"/>
        </p:nvCxnSpPr>
        <p:spPr>
          <a:xfrm flipH="1">
            <a:off x="11369993" y="6442437"/>
            <a:ext cx="27114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DFEB2B0B-3498-C846-8B12-766E57E396FF}"/>
              </a:ext>
            </a:extLst>
          </p:cNvPr>
          <p:cNvSpPr txBox="1"/>
          <p:nvPr userDrawn="1"/>
        </p:nvSpPr>
        <p:spPr>
          <a:xfrm flipH="1">
            <a:off x="550863" y="6595778"/>
            <a:ext cx="1652387" cy="1077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400" cap="all" spc="80">
                <a:solidFill>
                  <a:schemeClr val="bg1"/>
                </a:solidFill>
              </a:rPr>
              <a:t>©</a:t>
            </a:r>
            <a:r>
              <a:rPr lang="en-US" sz="400" cap="all" spc="0" baseline="0">
                <a:solidFill>
                  <a:schemeClr val="bg1"/>
                </a:solidFill>
              </a:rPr>
              <a:t> </a:t>
            </a:r>
            <a:r>
              <a:rPr lang="en-US" sz="400" cap="all" spc="80">
                <a:solidFill>
                  <a:schemeClr val="bg1"/>
                </a:solidFill>
              </a:rPr>
              <a:t>Oriflame Cosmetics</a:t>
            </a:r>
            <a:r>
              <a:rPr lang="en-US" sz="400" cap="all" spc="80" baseline="0">
                <a:solidFill>
                  <a:schemeClr val="bg1"/>
                </a:solidFill>
              </a:rPr>
              <a:t> AG,2022</a:t>
            </a:r>
            <a:endParaRPr lang="en-US" sz="1600" cap="all" spc="80">
              <a:solidFill>
                <a:schemeClr val="bg1"/>
              </a:solidFill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0E71511-788E-B045-AA0E-CEE4624CE3F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87908" y="6299505"/>
            <a:ext cx="1422989" cy="491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995505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04BF9365-8A74-8C45-97E0-37A5937E1DD0}"/>
              </a:ext>
            </a:extLst>
          </p:cNvPr>
          <p:cNvSpPr/>
          <p:nvPr userDrawn="1"/>
        </p:nvSpPr>
        <p:spPr>
          <a:xfrm>
            <a:off x="0" y="115888"/>
            <a:ext cx="12192000" cy="658971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err="1"/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50863" y="1980706"/>
            <a:ext cx="11090275" cy="1615421"/>
          </a:xfrm>
        </p:spPr>
        <p:txBody>
          <a:bodyPr anchor="b">
            <a:noAutofit/>
          </a:bodyPr>
          <a:lstStyle>
            <a:lvl1pPr algn="ctr"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Thank you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59568" y="3670806"/>
            <a:ext cx="11090280" cy="1946227"/>
          </a:xfrm>
        </p:spPr>
        <p:txBody>
          <a:bodyPr>
            <a:noAutofit/>
          </a:bodyPr>
          <a:lstStyle>
            <a:lvl1pPr marL="0" indent="0" algn="ctr">
              <a:buNone/>
              <a:defRPr sz="2000" b="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Contact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4697" y="5985530"/>
            <a:ext cx="2022603" cy="3804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20679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5583A376-0CFD-684D-BB73-CC5CFF69BB75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err="1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3C84993-3765-664A-84FF-00C1F2F58FAE}"/>
              </a:ext>
            </a:extLst>
          </p:cNvPr>
          <p:cNvSpPr/>
          <p:nvPr userDrawn="1"/>
        </p:nvSpPr>
        <p:spPr>
          <a:xfrm>
            <a:off x="892" y="115888"/>
            <a:ext cx="12191108" cy="619283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240BA159-581D-684D-BE00-8ABE3BB6B8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69993" y="6456998"/>
            <a:ext cx="271144" cy="17526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F2B5CF4-79E2-4BCE-8F81-53ED60D4893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BA91AB6C-FC48-5F46-A2D7-5FBFB6743599}"/>
              </a:ext>
            </a:extLst>
          </p:cNvPr>
          <p:cNvCxnSpPr/>
          <p:nvPr userDrawn="1"/>
        </p:nvCxnSpPr>
        <p:spPr>
          <a:xfrm flipH="1">
            <a:off x="11369993" y="6635115"/>
            <a:ext cx="27114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1C329F65-2FB8-8F4D-A895-AEA539500994}"/>
              </a:ext>
            </a:extLst>
          </p:cNvPr>
          <p:cNvCxnSpPr/>
          <p:nvPr userDrawn="1"/>
        </p:nvCxnSpPr>
        <p:spPr>
          <a:xfrm flipH="1">
            <a:off x="11369993" y="6442437"/>
            <a:ext cx="27114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258EE7F4-BBE3-574B-BB5E-8CEBD8D4ED62}"/>
              </a:ext>
            </a:extLst>
          </p:cNvPr>
          <p:cNvSpPr txBox="1"/>
          <p:nvPr userDrawn="1"/>
        </p:nvSpPr>
        <p:spPr>
          <a:xfrm flipH="1">
            <a:off x="550863" y="6595778"/>
            <a:ext cx="1652387" cy="1077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400" cap="all" spc="80">
                <a:solidFill>
                  <a:schemeClr val="bg1"/>
                </a:solidFill>
              </a:rPr>
              <a:t>©</a:t>
            </a:r>
            <a:r>
              <a:rPr lang="en-US" sz="400" cap="all" spc="0" baseline="0">
                <a:solidFill>
                  <a:schemeClr val="bg1"/>
                </a:solidFill>
              </a:rPr>
              <a:t> </a:t>
            </a:r>
            <a:r>
              <a:rPr lang="en-US" sz="400" cap="all" spc="80">
                <a:solidFill>
                  <a:schemeClr val="bg1"/>
                </a:solidFill>
              </a:rPr>
              <a:t>Oriflame Cosmetics</a:t>
            </a:r>
            <a:r>
              <a:rPr lang="en-US" sz="400" cap="all" spc="80" baseline="0">
                <a:solidFill>
                  <a:schemeClr val="bg1"/>
                </a:solidFill>
              </a:rPr>
              <a:t> AG,2023</a:t>
            </a:r>
            <a:endParaRPr lang="en-US" sz="1600" cap="all" spc="80">
              <a:solidFill>
                <a:schemeClr val="bg1"/>
              </a:solidFill>
            </a:endParaRP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9E31D4E4-3637-E34D-BD3F-66A2B54DD6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657225"/>
            <a:ext cx="11090275" cy="33709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Agenda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328337A5-272F-A145-B791-F1F3BCDF7742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50864" y="1076357"/>
            <a:ext cx="11090274" cy="360362"/>
          </a:xfr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65112" indent="0">
              <a:buNone/>
              <a:defRPr/>
            </a:lvl2pPr>
            <a:lvl3pPr marL="501650" indent="0">
              <a:buNone/>
              <a:defRPr/>
            </a:lvl3pPr>
            <a:lvl4pPr marL="698500" indent="0">
              <a:buNone/>
              <a:defRPr/>
            </a:lvl4pPr>
            <a:lvl5pPr marL="944563" indent="0">
              <a:buNone/>
              <a:defRPr/>
            </a:lvl5pPr>
          </a:lstStyle>
          <a:p>
            <a:pPr lvl="0"/>
            <a:r>
              <a:rPr lang="en-GB" noProof="0"/>
              <a:t>Date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65339578-5DAD-9448-AA8A-C0ED11DEFBE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0863" y="1628774"/>
            <a:ext cx="5336131" cy="4105275"/>
          </a:xfrm>
        </p:spPr>
        <p:txBody>
          <a:bodyPr/>
          <a:lstStyle>
            <a:lvl1pPr marL="0" indent="0">
              <a:buNone/>
              <a:defRPr b="1">
                <a:solidFill>
                  <a:schemeClr val="tx1"/>
                </a:solidFill>
              </a:defRPr>
            </a:lvl1pPr>
            <a:lvl2pPr marL="501650" indent="-236538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en-GB" noProof="0"/>
              <a:t>Part 1</a:t>
            </a:r>
          </a:p>
          <a:p>
            <a:pPr lvl="1"/>
            <a:r>
              <a:rPr lang="en-GB" noProof="0"/>
              <a:t>Activity 1		10-11</a:t>
            </a:r>
          </a:p>
          <a:p>
            <a:pPr lvl="1"/>
            <a:r>
              <a:rPr lang="en-GB" noProof="0"/>
              <a:t>Activity 2		11-12</a:t>
            </a:r>
          </a:p>
          <a:p>
            <a:pPr lvl="1"/>
            <a:endParaRPr lang="en-GB" noProof="0"/>
          </a:p>
          <a:p>
            <a:pPr lvl="0"/>
            <a:r>
              <a:rPr lang="en-GB" noProof="0"/>
              <a:t>Part 1</a:t>
            </a:r>
          </a:p>
          <a:p>
            <a:pPr lvl="1"/>
            <a:r>
              <a:rPr lang="en-GB" noProof="0"/>
              <a:t>Activity 1		10-11</a:t>
            </a:r>
          </a:p>
          <a:p>
            <a:pPr lvl="1"/>
            <a:r>
              <a:rPr lang="en-GB" noProof="0"/>
              <a:t>Activity 2		11-12</a:t>
            </a:r>
          </a:p>
          <a:p>
            <a:pPr lvl="1"/>
            <a:endParaRPr lang="en-GB" noProof="0"/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33E3C0F4-9AD9-604C-9131-320A8224CB19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6305007" y="1628774"/>
            <a:ext cx="5336131" cy="4105275"/>
          </a:xfrm>
        </p:spPr>
        <p:txBody>
          <a:bodyPr/>
          <a:lstStyle>
            <a:lvl1pPr marL="0" indent="0">
              <a:buFontTx/>
              <a:buNone/>
              <a:defRPr b="1">
                <a:solidFill>
                  <a:schemeClr val="tx1"/>
                </a:solidFill>
              </a:defRPr>
            </a:lvl1pPr>
            <a:lvl2pPr marL="501650" indent="-236538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en-GB" noProof="0"/>
              <a:t>Part 2</a:t>
            </a:r>
          </a:p>
          <a:p>
            <a:pPr lvl="1"/>
            <a:r>
              <a:rPr lang="en-GB" noProof="0"/>
              <a:t>Activity 1		12-13</a:t>
            </a:r>
          </a:p>
          <a:p>
            <a:pPr lvl="1"/>
            <a:r>
              <a:rPr lang="en-GB" noProof="0"/>
              <a:t>Activity 2		13-14</a:t>
            </a:r>
          </a:p>
          <a:p>
            <a:pPr lvl="1"/>
            <a:endParaRPr lang="en-GB" noProof="0"/>
          </a:p>
          <a:p>
            <a:pPr lvl="0"/>
            <a:r>
              <a:rPr lang="en-GB" noProof="0"/>
              <a:t>Part 2</a:t>
            </a:r>
          </a:p>
          <a:p>
            <a:pPr lvl="1"/>
            <a:r>
              <a:rPr lang="en-GB" noProof="0"/>
              <a:t>Activity 1		12-13</a:t>
            </a:r>
          </a:p>
          <a:p>
            <a:pPr lvl="1"/>
            <a:r>
              <a:rPr lang="en-GB" noProof="0"/>
              <a:t>Activity 2		13-14</a:t>
            </a:r>
          </a:p>
          <a:p>
            <a:pPr lvl="1"/>
            <a:endParaRPr lang="en-GB" noProof="0"/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F3AF4B37-B843-DD47-869A-C99B9527A76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87908" y="6299505"/>
            <a:ext cx="1422989" cy="491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1465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– H2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A7F48577-22A5-AE49-B944-103A9EB49FF4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err="1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8A663A3-C2F4-644E-8071-8965B0458128}"/>
              </a:ext>
            </a:extLst>
          </p:cNvPr>
          <p:cNvSpPr/>
          <p:nvPr userDrawn="1"/>
        </p:nvSpPr>
        <p:spPr>
          <a:xfrm>
            <a:off x="892" y="115888"/>
            <a:ext cx="12191108" cy="619283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3A958B19-F291-3441-B30D-3610D81440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69993" y="6456998"/>
            <a:ext cx="271144" cy="17526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F2B5CF4-79E2-4BCE-8F81-53ED60D4893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B00C9260-BA03-9944-91B6-F69D2732BA11}"/>
              </a:ext>
            </a:extLst>
          </p:cNvPr>
          <p:cNvCxnSpPr/>
          <p:nvPr userDrawn="1"/>
        </p:nvCxnSpPr>
        <p:spPr>
          <a:xfrm flipH="1">
            <a:off x="11369993" y="6635115"/>
            <a:ext cx="27114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4340533F-CDF7-D248-85F8-99738691EA44}"/>
              </a:ext>
            </a:extLst>
          </p:cNvPr>
          <p:cNvCxnSpPr/>
          <p:nvPr userDrawn="1"/>
        </p:nvCxnSpPr>
        <p:spPr>
          <a:xfrm flipH="1">
            <a:off x="11369993" y="6442437"/>
            <a:ext cx="27114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CA60CE95-0484-1F4D-90FD-4A0749FB3EA0}"/>
              </a:ext>
            </a:extLst>
          </p:cNvPr>
          <p:cNvSpPr txBox="1"/>
          <p:nvPr userDrawn="1"/>
        </p:nvSpPr>
        <p:spPr>
          <a:xfrm flipH="1">
            <a:off x="550863" y="6595778"/>
            <a:ext cx="1652387" cy="1077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400" cap="all" spc="80">
                <a:solidFill>
                  <a:schemeClr val="bg1"/>
                </a:solidFill>
              </a:rPr>
              <a:t>©</a:t>
            </a:r>
            <a:r>
              <a:rPr lang="en-US" sz="400" cap="all" spc="0" baseline="0">
                <a:solidFill>
                  <a:schemeClr val="bg1"/>
                </a:solidFill>
              </a:rPr>
              <a:t> </a:t>
            </a:r>
            <a:r>
              <a:rPr lang="en-US" sz="400" cap="all" spc="80">
                <a:solidFill>
                  <a:schemeClr val="bg1"/>
                </a:solidFill>
              </a:rPr>
              <a:t>Oriflame Cosmetics</a:t>
            </a:r>
            <a:r>
              <a:rPr lang="en-US" sz="400" cap="all" spc="80" baseline="0">
                <a:solidFill>
                  <a:schemeClr val="bg1"/>
                </a:solidFill>
              </a:rPr>
              <a:t> AG,2023</a:t>
            </a:r>
            <a:endParaRPr lang="en-US" sz="1600" cap="all" spc="80">
              <a:solidFill>
                <a:schemeClr val="bg1"/>
              </a:solidFill>
            </a:endParaRP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074AEDB7-870F-A747-BAE5-F521C3BED2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4" y="657225"/>
            <a:ext cx="5194844" cy="33709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Agenda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B5145BEF-A102-B640-B81C-F03E777D05D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50865" y="1076357"/>
            <a:ext cx="5194844" cy="360362"/>
          </a:xfr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265112" indent="0">
              <a:buNone/>
              <a:defRPr/>
            </a:lvl2pPr>
            <a:lvl3pPr marL="501650" indent="0">
              <a:buNone/>
              <a:defRPr/>
            </a:lvl3pPr>
            <a:lvl4pPr marL="698500" indent="0">
              <a:buNone/>
              <a:defRPr/>
            </a:lvl4pPr>
            <a:lvl5pPr marL="944563" indent="0">
              <a:buNone/>
              <a:defRPr/>
            </a:lvl5pPr>
          </a:lstStyle>
          <a:p>
            <a:pPr lvl="0"/>
            <a:r>
              <a:rPr lang="en-GB" noProof="0"/>
              <a:t>Date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3B5C4832-1103-604B-BDC1-28CAF2EE4DE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0864" y="1697598"/>
            <a:ext cx="5194844" cy="4105275"/>
          </a:xfrm>
        </p:spPr>
        <p:txBody>
          <a:bodyPr/>
          <a:lstStyle>
            <a:lvl1pPr marL="0" indent="0">
              <a:buNone/>
              <a:defRPr b="1">
                <a:solidFill>
                  <a:schemeClr val="tx1"/>
                </a:solidFill>
              </a:defRPr>
            </a:lvl1pPr>
            <a:lvl2pPr marL="501650" indent="-236538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en-GB" noProof="0"/>
              <a:t>Part 1</a:t>
            </a:r>
          </a:p>
          <a:p>
            <a:pPr lvl="1"/>
            <a:r>
              <a:rPr lang="en-GB" noProof="0"/>
              <a:t>Activity 1		10-11</a:t>
            </a:r>
          </a:p>
          <a:p>
            <a:pPr lvl="1"/>
            <a:r>
              <a:rPr lang="en-GB" noProof="0"/>
              <a:t>Activity 2		11-12</a:t>
            </a:r>
          </a:p>
          <a:p>
            <a:pPr lvl="1"/>
            <a:endParaRPr lang="en-GB" noProof="0"/>
          </a:p>
          <a:p>
            <a:pPr lvl="0"/>
            <a:r>
              <a:rPr lang="en-GB" noProof="0"/>
              <a:t>Part 1</a:t>
            </a:r>
          </a:p>
          <a:p>
            <a:pPr lvl="1"/>
            <a:r>
              <a:rPr lang="en-GB" noProof="0"/>
              <a:t>Activity 1		10-11</a:t>
            </a:r>
          </a:p>
          <a:p>
            <a:pPr lvl="1"/>
            <a:r>
              <a:rPr lang="en-GB" noProof="0"/>
              <a:t>Activity 2		11-12</a:t>
            </a:r>
          </a:p>
          <a:p>
            <a:pPr lvl="1"/>
            <a:endParaRPr lang="en-GB" noProof="0"/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C979F34D-A885-0B4C-84E9-A1777B0B81C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87908" y="6299505"/>
            <a:ext cx="1422989" cy="491798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FFAAFF60-4235-1C9D-C576-F781A52D473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0" y="1436719"/>
            <a:ext cx="5660946" cy="29558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58335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divider (pink)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C6B8B61E-B396-1645-8984-DE0966D4FF25}"/>
              </a:ext>
            </a:extLst>
          </p:cNvPr>
          <p:cNvSpPr/>
          <p:nvPr userDrawn="1"/>
        </p:nvSpPr>
        <p:spPr>
          <a:xfrm>
            <a:off x="0" y="115888"/>
            <a:ext cx="12192000" cy="619283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545455" y="3787823"/>
            <a:ext cx="7098632" cy="1946227"/>
          </a:xfrm>
        </p:spPr>
        <p:txBody>
          <a:bodyPr>
            <a:noAutofit/>
          </a:bodyPr>
          <a:lstStyle>
            <a:lvl1pPr marL="0" indent="0" algn="ctr">
              <a:buNone/>
              <a:defRPr sz="2000" b="0" kern="2000" cap="all" spc="1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Sub tit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23271" y="6438375"/>
            <a:ext cx="1143000" cy="214989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 flipH="1">
            <a:off x="550863" y="6595778"/>
            <a:ext cx="1652387" cy="1077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400" cap="all" spc="80">
                <a:solidFill>
                  <a:schemeClr val="tx1"/>
                </a:solidFill>
              </a:rPr>
              <a:t>©</a:t>
            </a:r>
            <a:r>
              <a:rPr lang="en-US" sz="400" cap="all" spc="0" baseline="0">
                <a:solidFill>
                  <a:schemeClr val="tx1"/>
                </a:solidFill>
              </a:rPr>
              <a:t> </a:t>
            </a:r>
            <a:r>
              <a:rPr lang="en-US" sz="400" cap="all" spc="80">
                <a:solidFill>
                  <a:schemeClr val="tx1"/>
                </a:solidFill>
              </a:rPr>
              <a:t>Oriflame Cosmetics</a:t>
            </a:r>
            <a:r>
              <a:rPr lang="en-US" sz="400" cap="all" spc="80" baseline="0">
                <a:solidFill>
                  <a:schemeClr val="tx1"/>
                </a:solidFill>
              </a:rPr>
              <a:t> AG,2023</a:t>
            </a:r>
            <a:endParaRPr lang="en-US" sz="1600" cap="all" spc="80">
              <a:solidFill>
                <a:schemeClr val="tx1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F2B5CF4-79E2-4BCE-8F81-53ED60D4893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3" name="Straight Connector 12"/>
          <p:cNvCxnSpPr/>
          <p:nvPr userDrawn="1"/>
        </p:nvCxnSpPr>
        <p:spPr>
          <a:xfrm flipH="1">
            <a:off x="11369993" y="6635115"/>
            <a:ext cx="27114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flipH="1">
            <a:off x="11369993" y="6442437"/>
            <a:ext cx="27114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itle 1">
            <a:extLst>
              <a:ext uri="{FF2B5EF4-FFF2-40B4-BE49-F238E27FC236}">
                <a16:creationId xmlns:a16="http://schemas.microsoft.com/office/drawing/2014/main" id="{851937BA-D151-8140-ACCF-FD14DA17F71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21693" y="1268413"/>
            <a:ext cx="8146155" cy="2402691"/>
          </a:xfrm>
        </p:spPr>
        <p:txBody>
          <a:bodyPr anchor="b">
            <a:noAutofit/>
          </a:bodyPr>
          <a:lstStyle>
            <a:lvl1pPr algn="ctr">
              <a:defRPr sz="7000" kern="7000" spc="-100" baseline="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Title</a:t>
            </a:r>
          </a:p>
        </p:txBody>
      </p:sp>
      <p:sp>
        <p:nvSpPr>
          <p:cNvPr id="3" name="Freeform 2">
            <a:extLst>
              <a:ext uri="{FF2B5EF4-FFF2-40B4-BE49-F238E27FC236}">
                <a16:creationId xmlns:a16="http://schemas.microsoft.com/office/drawing/2014/main" id="{FA379A85-2D18-6D6C-B176-6018E7120131}"/>
              </a:ext>
            </a:extLst>
          </p:cNvPr>
          <p:cNvSpPr/>
          <p:nvPr userDrawn="1"/>
        </p:nvSpPr>
        <p:spPr>
          <a:xfrm rot="2260278">
            <a:off x="-1426776" y="-1599663"/>
            <a:ext cx="3368419" cy="2613505"/>
          </a:xfrm>
          <a:custGeom>
            <a:avLst/>
            <a:gdLst>
              <a:gd name="connsiteX0" fmla="*/ 3889232 w 4244988"/>
              <a:gd name="connsiteY0" fmla="*/ 612826 h 3293622"/>
              <a:gd name="connsiteX1" fmla="*/ 3617977 w 4244988"/>
              <a:gd name="connsiteY1" fmla="*/ 2928481 h 3293622"/>
              <a:gd name="connsiteX2" fmla="*/ 1299683 w 4244988"/>
              <a:gd name="connsiteY2" fmla="*/ 2680796 h 3293622"/>
              <a:gd name="connsiteX3" fmla="*/ 1224707 w 4244988"/>
              <a:gd name="connsiteY3" fmla="*/ 2579169 h 3293622"/>
              <a:gd name="connsiteX4" fmla="*/ 1163631 w 4244988"/>
              <a:gd name="connsiteY4" fmla="*/ 2481534 h 3293622"/>
              <a:gd name="connsiteX5" fmla="*/ 1162772 w 4244988"/>
              <a:gd name="connsiteY5" fmla="*/ 2482220 h 3293622"/>
              <a:gd name="connsiteX6" fmla="*/ 1066262 w 4244988"/>
              <a:gd name="connsiteY6" fmla="*/ 2329542 h 3293622"/>
              <a:gd name="connsiteX7" fmla="*/ 303465 w 4244988"/>
              <a:gd name="connsiteY7" fmla="*/ 1782295 h 3293622"/>
              <a:gd name="connsiteX8" fmla="*/ 160860 w 4244988"/>
              <a:gd name="connsiteY8" fmla="*/ 1769870 h 3293622"/>
              <a:gd name="connsiteX9" fmla="*/ 160172 w 4244988"/>
              <a:gd name="connsiteY9" fmla="*/ 1769009 h 3293622"/>
              <a:gd name="connsiteX10" fmla="*/ 106474 w 4244988"/>
              <a:gd name="connsiteY10" fmla="*/ 1769009 h 3293622"/>
              <a:gd name="connsiteX11" fmla="*/ 100125 w 4244988"/>
              <a:gd name="connsiteY11" fmla="*/ 1769873 h 3293622"/>
              <a:gd name="connsiteX12" fmla="*/ 21932 w 4244988"/>
              <a:gd name="connsiteY12" fmla="*/ 1732067 h 3293622"/>
              <a:gd name="connsiteX13" fmla="*/ 12753 w 4244988"/>
              <a:gd name="connsiteY13" fmla="*/ 1619690 h 3293622"/>
              <a:gd name="connsiteX14" fmla="*/ 29905 w 4244988"/>
              <a:gd name="connsiteY14" fmla="*/ 1599352 h 3293622"/>
              <a:gd name="connsiteX15" fmla="*/ 28165 w 4244988"/>
              <a:gd name="connsiteY15" fmla="*/ 1597173 h 3293622"/>
              <a:gd name="connsiteX16" fmla="*/ 39122 w 4244988"/>
              <a:gd name="connsiteY16" fmla="*/ 1588423 h 3293622"/>
              <a:gd name="connsiteX17" fmla="*/ 39125 w 4244988"/>
              <a:gd name="connsiteY17" fmla="*/ 1588420 h 3293622"/>
              <a:gd name="connsiteX18" fmla="*/ 39130 w 4244988"/>
              <a:gd name="connsiteY18" fmla="*/ 1588417 h 3293622"/>
              <a:gd name="connsiteX19" fmla="*/ 1570938 w 4244988"/>
              <a:gd name="connsiteY19" fmla="*/ 365142 h 3293622"/>
              <a:gd name="connsiteX20" fmla="*/ 1602119 w 4244988"/>
              <a:gd name="connsiteY20" fmla="*/ 340241 h 3293622"/>
              <a:gd name="connsiteX21" fmla="*/ 1603364 w 4244988"/>
              <a:gd name="connsiteY21" fmla="*/ 341800 h 3293622"/>
              <a:gd name="connsiteX22" fmla="*/ 1708605 w 4244988"/>
              <a:gd name="connsiteY22" fmla="*/ 266040 h 3293622"/>
              <a:gd name="connsiteX23" fmla="*/ 3889232 w 4244988"/>
              <a:gd name="connsiteY23" fmla="*/ 612826 h 32936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4244988" h="3293622">
                <a:moveTo>
                  <a:pt x="3889232" y="612826"/>
                </a:moveTo>
                <a:cubicBezTo>
                  <a:pt x="4454506" y="1320673"/>
                  <a:pt x="4333061" y="2357427"/>
                  <a:pt x="3617977" y="2928481"/>
                </a:cubicBezTo>
                <a:cubicBezTo>
                  <a:pt x="2902892" y="3499535"/>
                  <a:pt x="1864957" y="3388643"/>
                  <a:pt x="1299683" y="2680796"/>
                </a:cubicBezTo>
                <a:cubicBezTo>
                  <a:pt x="1273185" y="2647616"/>
                  <a:pt x="1248197" y="2613713"/>
                  <a:pt x="1224707" y="2579169"/>
                </a:cubicBezTo>
                <a:lnTo>
                  <a:pt x="1163631" y="2481534"/>
                </a:lnTo>
                <a:lnTo>
                  <a:pt x="1162772" y="2482220"/>
                </a:lnTo>
                <a:lnTo>
                  <a:pt x="1066262" y="2329542"/>
                </a:lnTo>
                <a:cubicBezTo>
                  <a:pt x="848799" y="2029269"/>
                  <a:pt x="561714" y="1833589"/>
                  <a:pt x="303465" y="1782295"/>
                </a:cubicBezTo>
                <a:lnTo>
                  <a:pt x="160860" y="1769870"/>
                </a:lnTo>
                <a:lnTo>
                  <a:pt x="160172" y="1769009"/>
                </a:lnTo>
                <a:lnTo>
                  <a:pt x="106474" y="1769009"/>
                </a:lnTo>
                <a:lnTo>
                  <a:pt x="100125" y="1769873"/>
                </a:lnTo>
                <a:cubicBezTo>
                  <a:pt x="70606" y="1769618"/>
                  <a:pt x="41612" y="1756710"/>
                  <a:pt x="21932" y="1732067"/>
                </a:cubicBezTo>
                <a:cubicBezTo>
                  <a:pt x="-4308" y="1699209"/>
                  <a:pt x="-6539" y="1654818"/>
                  <a:pt x="12753" y="1619690"/>
                </a:cubicBezTo>
                <a:lnTo>
                  <a:pt x="29905" y="1599352"/>
                </a:lnTo>
                <a:lnTo>
                  <a:pt x="28165" y="1597173"/>
                </a:lnTo>
                <a:lnTo>
                  <a:pt x="39122" y="1588423"/>
                </a:lnTo>
                <a:lnTo>
                  <a:pt x="39125" y="1588420"/>
                </a:lnTo>
                <a:lnTo>
                  <a:pt x="39130" y="1588417"/>
                </a:lnTo>
                <a:lnTo>
                  <a:pt x="1570938" y="365142"/>
                </a:lnTo>
                <a:lnTo>
                  <a:pt x="1602119" y="340241"/>
                </a:lnTo>
                <a:lnTo>
                  <a:pt x="1603364" y="341800"/>
                </a:lnTo>
                <a:lnTo>
                  <a:pt x="1708605" y="266040"/>
                </a:lnTo>
                <a:cubicBezTo>
                  <a:pt x="2413918" y="-189719"/>
                  <a:pt x="3359287" y="-50780"/>
                  <a:pt x="3889232" y="612826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err="1"/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832B602A-1D90-740A-EB87-48B3CAA3B75E}"/>
              </a:ext>
            </a:extLst>
          </p:cNvPr>
          <p:cNvSpPr/>
          <p:nvPr userDrawn="1"/>
        </p:nvSpPr>
        <p:spPr>
          <a:xfrm rot="13400277">
            <a:off x="10165496" y="5116410"/>
            <a:ext cx="5597222" cy="4342799"/>
          </a:xfrm>
          <a:custGeom>
            <a:avLst/>
            <a:gdLst>
              <a:gd name="connsiteX0" fmla="*/ 3889232 w 4244988"/>
              <a:gd name="connsiteY0" fmla="*/ 612826 h 3293622"/>
              <a:gd name="connsiteX1" fmla="*/ 3617977 w 4244988"/>
              <a:gd name="connsiteY1" fmla="*/ 2928481 h 3293622"/>
              <a:gd name="connsiteX2" fmla="*/ 1299683 w 4244988"/>
              <a:gd name="connsiteY2" fmla="*/ 2680796 h 3293622"/>
              <a:gd name="connsiteX3" fmla="*/ 1224707 w 4244988"/>
              <a:gd name="connsiteY3" fmla="*/ 2579169 h 3293622"/>
              <a:gd name="connsiteX4" fmla="*/ 1163631 w 4244988"/>
              <a:gd name="connsiteY4" fmla="*/ 2481534 h 3293622"/>
              <a:gd name="connsiteX5" fmla="*/ 1162772 w 4244988"/>
              <a:gd name="connsiteY5" fmla="*/ 2482220 h 3293622"/>
              <a:gd name="connsiteX6" fmla="*/ 1066262 w 4244988"/>
              <a:gd name="connsiteY6" fmla="*/ 2329542 h 3293622"/>
              <a:gd name="connsiteX7" fmla="*/ 303465 w 4244988"/>
              <a:gd name="connsiteY7" fmla="*/ 1782295 h 3293622"/>
              <a:gd name="connsiteX8" fmla="*/ 160860 w 4244988"/>
              <a:gd name="connsiteY8" fmla="*/ 1769870 h 3293622"/>
              <a:gd name="connsiteX9" fmla="*/ 160172 w 4244988"/>
              <a:gd name="connsiteY9" fmla="*/ 1769009 h 3293622"/>
              <a:gd name="connsiteX10" fmla="*/ 106474 w 4244988"/>
              <a:gd name="connsiteY10" fmla="*/ 1769009 h 3293622"/>
              <a:gd name="connsiteX11" fmla="*/ 100125 w 4244988"/>
              <a:gd name="connsiteY11" fmla="*/ 1769873 h 3293622"/>
              <a:gd name="connsiteX12" fmla="*/ 21932 w 4244988"/>
              <a:gd name="connsiteY12" fmla="*/ 1732067 h 3293622"/>
              <a:gd name="connsiteX13" fmla="*/ 12753 w 4244988"/>
              <a:gd name="connsiteY13" fmla="*/ 1619690 h 3293622"/>
              <a:gd name="connsiteX14" fmla="*/ 29905 w 4244988"/>
              <a:gd name="connsiteY14" fmla="*/ 1599352 h 3293622"/>
              <a:gd name="connsiteX15" fmla="*/ 28165 w 4244988"/>
              <a:gd name="connsiteY15" fmla="*/ 1597173 h 3293622"/>
              <a:gd name="connsiteX16" fmla="*/ 39122 w 4244988"/>
              <a:gd name="connsiteY16" fmla="*/ 1588423 h 3293622"/>
              <a:gd name="connsiteX17" fmla="*/ 39125 w 4244988"/>
              <a:gd name="connsiteY17" fmla="*/ 1588420 h 3293622"/>
              <a:gd name="connsiteX18" fmla="*/ 39130 w 4244988"/>
              <a:gd name="connsiteY18" fmla="*/ 1588417 h 3293622"/>
              <a:gd name="connsiteX19" fmla="*/ 1570938 w 4244988"/>
              <a:gd name="connsiteY19" fmla="*/ 365142 h 3293622"/>
              <a:gd name="connsiteX20" fmla="*/ 1602119 w 4244988"/>
              <a:gd name="connsiteY20" fmla="*/ 340241 h 3293622"/>
              <a:gd name="connsiteX21" fmla="*/ 1603364 w 4244988"/>
              <a:gd name="connsiteY21" fmla="*/ 341800 h 3293622"/>
              <a:gd name="connsiteX22" fmla="*/ 1708605 w 4244988"/>
              <a:gd name="connsiteY22" fmla="*/ 266040 h 3293622"/>
              <a:gd name="connsiteX23" fmla="*/ 3889232 w 4244988"/>
              <a:gd name="connsiteY23" fmla="*/ 612826 h 32936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4244988" h="3293622">
                <a:moveTo>
                  <a:pt x="3889232" y="612826"/>
                </a:moveTo>
                <a:cubicBezTo>
                  <a:pt x="4454506" y="1320673"/>
                  <a:pt x="4333061" y="2357427"/>
                  <a:pt x="3617977" y="2928481"/>
                </a:cubicBezTo>
                <a:cubicBezTo>
                  <a:pt x="2902892" y="3499535"/>
                  <a:pt x="1864957" y="3388643"/>
                  <a:pt x="1299683" y="2680796"/>
                </a:cubicBezTo>
                <a:cubicBezTo>
                  <a:pt x="1273185" y="2647616"/>
                  <a:pt x="1248197" y="2613713"/>
                  <a:pt x="1224707" y="2579169"/>
                </a:cubicBezTo>
                <a:lnTo>
                  <a:pt x="1163631" y="2481534"/>
                </a:lnTo>
                <a:lnTo>
                  <a:pt x="1162772" y="2482220"/>
                </a:lnTo>
                <a:lnTo>
                  <a:pt x="1066262" y="2329542"/>
                </a:lnTo>
                <a:cubicBezTo>
                  <a:pt x="848799" y="2029269"/>
                  <a:pt x="561714" y="1833589"/>
                  <a:pt x="303465" y="1782295"/>
                </a:cubicBezTo>
                <a:lnTo>
                  <a:pt x="160860" y="1769870"/>
                </a:lnTo>
                <a:lnTo>
                  <a:pt x="160172" y="1769009"/>
                </a:lnTo>
                <a:lnTo>
                  <a:pt x="106474" y="1769009"/>
                </a:lnTo>
                <a:lnTo>
                  <a:pt x="100125" y="1769873"/>
                </a:lnTo>
                <a:cubicBezTo>
                  <a:pt x="70606" y="1769618"/>
                  <a:pt x="41612" y="1756710"/>
                  <a:pt x="21932" y="1732067"/>
                </a:cubicBezTo>
                <a:cubicBezTo>
                  <a:pt x="-4308" y="1699209"/>
                  <a:pt x="-6539" y="1654818"/>
                  <a:pt x="12753" y="1619690"/>
                </a:cubicBezTo>
                <a:lnTo>
                  <a:pt x="29905" y="1599352"/>
                </a:lnTo>
                <a:lnTo>
                  <a:pt x="28165" y="1597173"/>
                </a:lnTo>
                <a:lnTo>
                  <a:pt x="39122" y="1588423"/>
                </a:lnTo>
                <a:lnTo>
                  <a:pt x="39125" y="1588420"/>
                </a:lnTo>
                <a:lnTo>
                  <a:pt x="39130" y="1588417"/>
                </a:lnTo>
                <a:lnTo>
                  <a:pt x="1570938" y="365142"/>
                </a:lnTo>
                <a:lnTo>
                  <a:pt x="1602119" y="340241"/>
                </a:lnTo>
                <a:lnTo>
                  <a:pt x="1603364" y="341800"/>
                </a:lnTo>
                <a:lnTo>
                  <a:pt x="1708605" y="266040"/>
                </a:lnTo>
                <a:cubicBezTo>
                  <a:pt x="2413918" y="-189719"/>
                  <a:pt x="3359287" y="-50780"/>
                  <a:pt x="3889232" y="612826"/>
                </a:cubicBezTo>
                <a:close/>
              </a:path>
            </a:pathLst>
          </a:custGeom>
          <a:noFill/>
          <a:ln w="2159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err="1"/>
          </a:p>
        </p:txBody>
      </p:sp>
      <p:sp>
        <p:nvSpPr>
          <p:cNvPr id="5" name="Freeform 4">
            <a:extLst>
              <a:ext uri="{FF2B5EF4-FFF2-40B4-BE49-F238E27FC236}">
                <a16:creationId xmlns:a16="http://schemas.microsoft.com/office/drawing/2014/main" id="{DF6D0479-841F-122F-C73F-F423C56F9432}"/>
              </a:ext>
            </a:extLst>
          </p:cNvPr>
          <p:cNvSpPr/>
          <p:nvPr userDrawn="1"/>
        </p:nvSpPr>
        <p:spPr>
          <a:xfrm rot="2778764">
            <a:off x="-2081561" y="27302"/>
            <a:ext cx="3071896" cy="2383437"/>
          </a:xfrm>
          <a:custGeom>
            <a:avLst/>
            <a:gdLst>
              <a:gd name="connsiteX0" fmla="*/ 3889232 w 4244988"/>
              <a:gd name="connsiteY0" fmla="*/ 612826 h 3293622"/>
              <a:gd name="connsiteX1" fmla="*/ 3617977 w 4244988"/>
              <a:gd name="connsiteY1" fmla="*/ 2928481 h 3293622"/>
              <a:gd name="connsiteX2" fmla="*/ 1299683 w 4244988"/>
              <a:gd name="connsiteY2" fmla="*/ 2680796 h 3293622"/>
              <a:gd name="connsiteX3" fmla="*/ 1224707 w 4244988"/>
              <a:gd name="connsiteY3" fmla="*/ 2579169 h 3293622"/>
              <a:gd name="connsiteX4" fmla="*/ 1163631 w 4244988"/>
              <a:gd name="connsiteY4" fmla="*/ 2481534 h 3293622"/>
              <a:gd name="connsiteX5" fmla="*/ 1162772 w 4244988"/>
              <a:gd name="connsiteY5" fmla="*/ 2482220 h 3293622"/>
              <a:gd name="connsiteX6" fmla="*/ 1066262 w 4244988"/>
              <a:gd name="connsiteY6" fmla="*/ 2329542 h 3293622"/>
              <a:gd name="connsiteX7" fmla="*/ 303465 w 4244988"/>
              <a:gd name="connsiteY7" fmla="*/ 1782295 h 3293622"/>
              <a:gd name="connsiteX8" fmla="*/ 160860 w 4244988"/>
              <a:gd name="connsiteY8" fmla="*/ 1769870 h 3293622"/>
              <a:gd name="connsiteX9" fmla="*/ 160172 w 4244988"/>
              <a:gd name="connsiteY9" fmla="*/ 1769009 h 3293622"/>
              <a:gd name="connsiteX10" fmla="*/ 106474 w 4244988"/>
              <a:gd name="connsiteY10" fmla="*/ 1769009 h 3293622"/>
              <a:gd name="connsiteX11" fmla="*/ 100125 w 4244988"/>
              <a:gd name="connsiteY11" fmla="*/ 1769873 h 3293622"/>
              <a:gd name="connsiteX12" fmla="*/ 21932 w 4244988"/>
              <a:gd name="connsiteY12" fmla="*/ 1732067 h 3293622"/>
              <a:gd name="connsiteX13" fmla="*/ 12753 w 4244988"/>
              <a:gd name="connsiteY13" fmla="*/ 1619690 h 3293622"/>
              <a:gd name="connsiteX14" fmla="*/ 29905 w 4244988"/>
              <a:gd name="connsiteY14" fmla="*/ 1599352 h 3293622"/>
              <a:gd name="connsiteX15" fmla="*/ 28165 w 4244988"/>
              <a:gd name="connsiteY15" fmla="*/ 1597173 h 3293622"/>
              <a:gd name="connsiteX16" fmla="*/ 39122 w 4244988"/>
              <a:gd name="connsiteY16" fmla="*/ 1588423 h 3293622"/>
              <a:gd name="connsiteX17" fmla="*/ 39125 w 4244988"/>
              <a:gd name="connsiteY17" fmla="*/ 1588420 h 3293622"/>
              <a:gd name="connsiteX18" fmla="*/ 39130 w 4244988"/>
              <a:gd name="connsiteY18" fmla="*/ 1588417 h 3293622"/>
              <a:gd name="connsiteX19" fmla="*/ 1570938 w 4244988"/>
              <a:gd name="connsiteY19" fmla="*/ 365142 h 3293622"/>
              <a:gd name="connsiteX20" fmla="*/ 1602119 w 4244988"/>
              <a:gd name="connsiteY20" fmla="*/ 340241 h 3293622"/>
              <a:gd name="connsiteX21" fmla="*/ 1603364 w 4244988"/>
              <a:gd name="connsiteY21" fmla="*/ 341800 h 3293622"/>
              <a:gd name="connsiteX22" fmla="*/ 1708605 w 4244988"/>
              <a:gd name="connsiteY22" fmla="*/ 266040 h 3293622"/>
              <a:gd name="connsiteX23" fmla="*/ 3889232 w 4244988"/>
              <a:gd name="connsiteY23" fmla="*/ 612826 h 32936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4244988" h="3293622">
                <a:moveTo>
                  <a:pt x="3889232" y="612826"/>
                </a:moveTo>
                <a:cubicBezTo>
                  <a:pt x="4454506" y="1320673"/>
                  <a:pt x="4333061" y="2357427"/>
                  <a:pt x="3617977" y="2928481"/>
                </a:cubicBezTo>
                <a:cubicBezTo>
                  <a:pt x="2902892" y="3499535"/>
                  <a:pt x="1864957" y="3388643"/>
                  <a:pt x="1299683" y="2680796"/>
                </a:cubicBezTo>
                <a:cubicBezTo>
                  <a:pt x="1273185" y="2647616"/>
                  <a:pt x="1248197" y="2613713"/>
                  <a:pt x="1224707" y="2579169"/>
                </a:cubicBezTo>
                <a:lnTo>
                  <a:pt x="1163631" y="2481534"/>
                </a:lnTo>
                <a:lnTo>
                  <a:pt x="1162772" y="2482220"/>
                </a:lnTo>
                <a:lnTo>
                  <a:pt x="1066262" y="2329542"/>
                </a:lnTo>
                <a:cubicBezTo>
                  <a:pt x="848799" y="2029269"/>
                  <a:pt x="561714" y="1833589"/>
                  <a:pt x="303465" y="1782295"/>
                </a:cubicBezTo>
                <a:lnTo>
                  <a:pt x="160860" y="1769870"/>
                </a:lnTo>
                <a:lnTo>
                  <a:pt x="160172" y="1769009"/>
                </a:lnTo>
                <a:lnTo>
                  <a:pt x="106474" y="1769009"/>
                </a:lnTo>
                <a:lnTo>
                  <a:pt x="100125" y="1769873"/>
                </a:lnTo>
                <a:cubicBezTo>
                  <a:pt x="70606" y="1769618"/>
                  <a:pt x="41612" y="1756710"/>
                  <a:pt x="21932" y="1732067"/>
                </a:cubicBezTo>
                <a:cubicBezTo>
                  <a:pt x="-4308" y="1699209"/>
                  <a:pt x="-6539" y="1654818"/>
                  <a:pt x="12753" y="1619690"/>
                </a:cubicBezTo>
                <a:lnTo>
                  <a:pt x="29905" y="1599352"/>
                </a:lnTo>
                <a:lnTo>
                  <a:pt x="28165" y="1597173"/>
                </a:lnTo>
                <a:lnTo>
                  <a:pt x="39122" y="1588423"/>
                </a:lnTo>
                <a:lnTo>
                  <a:pt x="39125" y="1588420"/>
                </a:lnTo>
                <a:lnTo>
                  <a:pt x="39130" y="1588417"/>
                </a:lnTo>
                <a:lnTo>
                  <a:pt x="1570938" y="365142"/>
                </a:lnTo>
                <a:lnTo>
                  <a:pt x="1602119" y="340241"/>
                </a:lnTo>
                <a:lnTo>
                  <a:pt x="1603364" y="341800"/>
                </a:lnTo>
                <a:lnTo>
                  <a:pt x="1708605" y="266040"/>
                </a:lnTo>
                <a:cubicBezTo>
                  <a:pt x="2413918" y="-189719"/>
                  <a:pt x="3359287" y="-50780"/>
                  <a:pt x="3889232" y="612826"/>
                </a:cubicBezTo>
                <a:close/>
              </a:path>
            </a:pathLst>
          </a:custGeom>
          <a:noFill/>
          <a:ln w="1587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err="1"/>
          </a:p>
        </p:txBody>
      </p:sp>
    </p:spTree>
    <p:extLst>
      <p:ext uri="{BB962C8B-B14F-4D97-AF65-F5344CB8AC3E}">
        <p14:creationId xmlns:p14="http://schemas.microsoft.com/office/powerpoint/2010/main" val="27089380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ub chapter divider (purp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59AD3909-A5AF-504B-99A1-437D9E322B3D}"/>
              </a:ext>
            </a:extLst>
          </p:cNvPr>
          <p:cNvSpPr/>
          <p:nvPr userDrawn="1"/>
        </p:nvSpPr>
        <p:spPr>
          <a:xfrm>
            <a:off x="0" y="115888"/>
            <a:ext cx="12191108" cy="61928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2013424" y="1827507"/>
            <a:ext cx="8162692" cy="1615421"/>
          </a:xfrm>
        </p:spPr>
        <p:txBody>
          <a:bodyPr anchor="b">
            <a:noAutofit/>
          </a:bodyPr>
          <a:lstStyle>
            <a:lvl1pPr algn="ctr"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Sub-chapter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260273" y="3549533"/>
            <a:ext cx="7668995" cy="1946227"/>
          </a:xfrm>
        </p:spPr>
        <p:txBody>
          <a:bodyPr>
            <a:noAutofit/>
          </a:bodyPr>
          <a:lstStyle>
            <a:lvl1pPr marL="0" indent="0" algn="ctr">
              <a:buNone/>
              <a:defRPr sz="2000" b="0" cap="none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Sub-headlin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23271" y="6438375"/>
            <a:ext cx="1143000" cy="214989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F2B5CF4-79E2-4BCE-8F81-53ED60D4893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3" name="Straight Connector 12"/>
          <p:cNvCxnSpPr/>
          <p:nvPr userDrawn="1"/>
        </p:nvCxnSpPr>
        <p:spPr>
          <a:xfrm flipH="1">
            <a:off x="11369993" y="6635115"/>
            <a:ext cx="27114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flipH="1">
            <a:off x="11369993" y="6442437"/>
            <a:ext cx="27114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8F99A3FF-A965-2847-B601-C92439A5120C}"/>
              </a:ext>
            </a:extLst>
          </p:cNvPr>
          <p:cNvSpPr txBox="1"/>
          <p:nvPr userDrawn="1"/>
        </p:nvSpPr>
        <p:spPr>
          <a:xfrm flipH="1">
            <a:off x="550863" y="6595778"/>
            <a:ext cx="1652387" cy="1077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400" cap="all" spc="80">
                <a:solidFill>
                  <a:schemeClr val="tx1"/>
                </a:solidFill>
              </a:rPr>
              <a:t>©</a:t>
            </a:r>
            <a:r>
              <a:rPr lang="en-US" sz="400" cap="all" spc="0" baseline="0">
                <a:solidFill>
                  <a:schemeClr val="tx1"/>
                </a:solidFill>
              </a:rPr>
              <a:t> </a:t>
            </a:r>
            <a:r>
              <a:rPr lang="en-US" sz="400" cap="all" spc="80">
                <a:solidFill>
                  <a:schemeClr val="tx1"/>
                </a:solidFill>
              </a:rPr>
              <a:t>Oriflame Cosmetics</a:t>
            </a:r>
            <a:r>
              <a:rPr lang="en-US" sz="400" cap="all" spc="80" baseline="0">
                <a:solidFill>
                  <a:schemeClr val="tx1"/>
                </a:solidFill>
              </a:rPr>
              <a:t> AG,2023</a:t>
            </a:r>
            <a:endParaRPr lang="en-US" sz="1600" cap="all" spc="8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05914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divider (oran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C6B8B61E-B396-1645-8984-DE0966D4FF25}"/>
              </a:ext>
            </a:extLst>
          </p:cNvPr>
          <p:cNvSpPr/>
          <p:nvPr userDrawn="1"/>
        </p:nvSpPr>
        <p:spPr>
          <a:xfrm>
            <a:off x="0" y="115888"/>
            <a:ext cx="12192000" cy="619283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545455" y="3787823"/>
            <a:ext cx="7098632" cy="1946227"/>
          </a:xfrm>
        </p:spPr>
        <p:txBody>
          <a:bodyPr>
            <a:noAutofit/>
          </a:bodyPr>
          <a:lstStyle>
            <a:lvl1pPr marL="0" indent="0" algn="ctr">
              <a:buNone/>
              <a:defRPr sz="2000" b="0" kern="2000" cap="all" spc="1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Sub tit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23271" y="6438375"/>
            <a:ext cx="1143000" cy="214989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 flipH="1">
            <a:off x="550863" y="6595778"/>
            <a:ext cx="1652387" cy="1077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400" cap="all" spc="80">
                <a:solidFill>
                  <a:schemeClr val="tx1"/>
                </a:solidFill>
              </a:rPr>
              <a:t>©</a:t>
            </a:r>
            <a:r>
              <a:rPr lang="en-US" sz="400" cap="all" spc="0" baseline="0">
                <a:solidFill>
                  <a:schemeClr val="tx1"/>
                </a:solidFill>
              </a:rPr>
              <a:t> </a:t>
            </a:r>
            <a:r>
              <a:rPr lang="en-US" sz="400" cap="all" spc="80">
                <a:solidFill>
                  <a:schemeClr val="tx1"/>
                </a:solidFill>
              </a:rPr>
              <a:t>Oriflame Cosmetics</a:t>
            </a:r>
            <a:r>
              <a:rPr lang="en-US" sz="400" cap="all" spc="80" baseline="0">
                <a:solidFill>
                  <a:schemeClr val="tx1"/>
                </a:solidFill>
              </a:rPr>
              <a:t> AG,2023</a:t>
            </a:r>
            <a:endParaRPr lang="en-US" sz="1600" cap="all" spc="80">
              <a:solidFill>
                <a:schemeClr val="tx1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F2B5CF4-79E2-4BCE-8F81-53ED60D4893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3" name="Straight Connector 12"/>
          <p:cNvCxnSpPr/>
          <p:nvPr userDrawn="1"/>
        </p:nvCxnSpPr>
        <p:spPr>
          <a:xfrm flipH="1">
            <a:off x="11369993" y="6635115"/>
            <a:ext cx="27114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flipH="1">
            <a:off x="11369993" y="6442437"/>
            <a:ext cx="27114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itle 1">
            <a:extLst>
              <a:ext uri="{FF2B5EF4-FFF2-40B4-BE49-F238E27FC236}">
                <a16:creationId xmlns:a16="http://schemas.microsoft.com/office/drawing/2014/main" id="{851937BA-D151-8140-ACCF-FD14DA17F71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21693" y="1268413"/>
            <a:ext cx="8146155" cy="2402691"/>
          </a:xfrm>
        </p:spPr>
        <p:txBody>
          <a:bodyPr anchor="b">
            <a:noAutofit/>
          </a:bodyPr>
          <a:lstStyle>
            <a:lvl1pPr algn="ctr">
              <a:defRPr sz="7000" kern="7000" spc="-100" baseline="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Title</a:t>
            </a:r>
          </a:p>
        </p:txBody>
      </p:sp>
      <p:sp>
        <p:nvSpPr>
          <p:cNvPr id="3" name="Freeform 2">
            <a:extLst>
              <a:ext uri="{FF2B5EF4-FFF2-40B4-BE49-F238E27FC236}">
                <a16:creationId xmlns:a16="http://schemas.microsoft.com/office/drawing/2014/main" id="{58F220EB-4201-10CA-DBC4-1506843CC68F}"/>
              </a:ext>
            </a:extLst>
          </p:cNvPr>
          <p:cNvSpPr/>
          <p:nvPr userDrawn="1"/>
        </p:nvSpPr>
        <p:spPr>
          <a:xfrm rot="2260278">
            <a:off x="-1426776" y="-1599663"/>
            <a:ext cx="3368419" cy="2613505"/>
          </a:xfrm>
          <a:custGeom>
            <a:avLst/>
            <a:gdLst>
              <a:gd name="connsiteX0" fmla="*/ 3889232 w 4244988"/>
              <a:gd name="connsiteY0" fmla="*/ 612826 h 3293622"/>
              <a:gd name="connsiteX1" fmla="*/ 3617977 w 4244988"/>
              <a:gd name="connsiteY1" fmla="*/ 2928481 h 3293622"/>
              <a:gd name="connsiteX2" fmla="*/ 1299683 w 4244988"/>
              <a:gd name="connsiteY2" fmla="*/ 2680796 h 3293622"/>
              <a:gd name="connsiteX3" fmla="*/ 1224707 w 4244988"/>
              <a:gd name="connsiteY3" fmla="*/ 2579169 h 3293622"/>
              <a:gd name="connsiteX4" fmla="*/ 1163631 w 4244988"/>
              <a:gd name="connsiteY4" fmla="*/ 2481534 h 3293622"/>
              <a:gd name="connsiteX5" fmla="*/ 1162772 w 4244988"/>
              <a:gd name="connsiteY5" fmla="*/ 2482220 h 3293622"/>
              <a:gd name="connsiteX6" fmla="*/ 1066262 w 4244988"/>
              <a:gd name="connsiteY6" fmla="*/ 2329542 h 3293622"/>
              <a:gd name="connsiteX7" fmla="*/ 303465 w 4244988"/>
              <a:gd name="connsiteY7" fmla="*/ 1782295 h 3293622"/>
              <a:gd name="connsiteX8" fmla="*/ 160860 w 4244988"/>
              <a:gd name="connsiteY8" fmla="*/ 1769870 h 3293622"/>
              <a:gd name="connsiteX9" fmla="*/ 160172 w 4244988"/>
              <a:gd name="connsiteY9" fmla="*/ 1769009 h 3293622"/>
              <a:gd name="connsiteX10" fmla="*/ 106474 w 4244988"/>
              <a:gd name="connsiteY10" fmla="*/ 1769009 h 3293622"/>
              <a:gd name="connsiteX11" fmla="*/ 100125 w 4244988"/>
              <a:gd name="connsiteY11" fmla="*/ 1769873 h 3293622"/>
              <a:gd name="connsiteX12" fmla="*/ 21932 w 4244988"/>
              <a:gd name="connsiteY12" fmla="*/ 1732067 h 3293622"/>
              <a:gd name="connsiteX13" fmla="*/ 12753 w 4244988"/>
              <a:gd name="connsiteY13" fmla="*/ 1619690 h 3293622"/>
              <a:gd name="connsiteX14" fmla="*/ 29905 w 4244988"/>
              <a:gd name="connsiteY14" fmla="*/ 1599352 h 3293622"/>
              <a:gd name="connsiteX15" fmla="*/ 28165 w 4244988"/>
              <a:gd name="connsiteY15" fmla="*/ 1597173 h 3293622"/>
              <a:gd name="connsiteX16" fmla="*/ 39122 w 4244988"/>
              <a:gd name="connsiteY16" fmla="*/ 1588423 h 3293622"/>
              <a:gd name="connsiteX17" fmla="*/ 39125 w 4244988"/>
              <a:gd name="connsiteY17" fmla="*/ 1588420 h 3293622"/>
              <a:gd name="connsiteX18" fmla="*/ 39130 w 4244988"/>
              <a:gd name="connsiteY18" fmla="*/ 1588417 h 3293622"/>
              <a:gd name="connsiteX19" fmla="*/ 1570938 w 4244988"/>
              <a:gd name="connsiteY19" fmla="*/ 365142 h 3293622"/>
              <a:gd name="connsiteX20" fmla="*/ 1602119 w 4244988"/>
              <a:gd name="connsiteY20" fmla="*/ 340241 h 3293622"/>
              <a:gd name="connsiteX21" fmla="*/ 1603364 w 4244988"/>
              <a:gd name="connsiteY21" fmla="*/ 341800 h 3293622"/>
              <a:gd name="connsiteX22" fmla="*/ 1708605 w 4244988"/>
              <a:gd name="connsiteY22" fmla="*/ 266040 h 3293622"/>
              <a:gd name="connsiteX23" fmla="*/ 3889232 w 4244988"/>
              <a:gd name="connsiteY23" fmla="*/ 612826 h 32936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4244988" h="3293622">
                <a:moveTo>
                  <a:pt x="3889232" y="612826"/>
                </a:moveTo>
                <a:cubicBezTo>
                  <a:pt x="4454506" y="1320673"/>
                  <a:pt x="4333061" y="2357427"/>
                  <a:pt x="3617977" y="2928481"/>
                </a:cubicBezTo>
                <a:cubicBezTo>
                  <a:pt x="2902892" y="3499535"/>
                  <a:pt x="1864957" y="3388643"/>
                  <a:pt x="1299683" y="2680796"/>
                </a:cubicBezTo>
                <a:cubicBezTo>
                  <a:pt x="1273185" y="2647616"/>
                  <a:pt x="1248197" y="2613713"/>
                  <a:pt x="1224707" y="2579169"/>
                </a:cubicBezTo>
                <a:lnTo>
                  <a:pt x="1163631" y="2481534"/>
                </a:lnTo>
                <a:lnTo>
                  <a:pt x="1162772" y="2482220"/>
                </a:lnTo>
                <a:lnTo>
                  <a:pt x="1066262" y="2329542"/>
                </a:lnTo>
                <a:cubicBezTo>
                  <a:pt x="848799" y="2029269"/>
                  <a:pt x="561714" y="1833589"/>
                  <a:pt x="303465" y="1782295"/>
                </a:cubicBezTo>
                <a:lnTo>
                  <a:pt x="160860" y="1769870"/>
                </a:lnTo>
                <a:lnTo>
                  <a:pt x="160172" y="1769009"/>
                </a:lnTo>
                <a:lnTo>
                  <a:pt x="106474" y="1769009"/>
                </a:lnTo>
                <a:lnTo>
                  <a:pt x="100125" y="1769873"/>
                </a:lnTo>
                <a:cubicBezTo>
                  <a:pt x="70606" y="1769618"/>
                  <a:pt x="41612" y="1756710"/>
                  <a:pt x="21932" y="1732067"/>
                </a:cubicBezTo>
                <a:cubicBezTo>
                  <a:pt x="-4308" y="1699209"/>
                  <a:pt x="-6539" y="1654818"/>
                  <a:pt x="12753" y="1619690"/>
                </a:cubicBezTo>
                <a:lnTo>
                  <a:pt x="29905" y="1599352"/>
                </a:lnTo>
                <a:lnTo>
                  <a:pt x="28165" y="1597173"/>
                </a:lnTo>
                <a:lnTo>
                  <a:pt x="39122" y="1588423"/>
                </a:lnTo>
                <a:lnTo>
                  <a:pt x="39125" y="1588420"/>
                </a:lnTo>
                <a:lnTo>
                  <a:pt x="39130" y="1588417"/>
                </a:lnTo>
                <a:lnTo>
                  <a:pt x="1570938" y="365142"/>
                </a:lnTo>
                <a:lnTo>
                  <a:pt x="1602119" y="340241"/>
                </a:lnTo>
                <a:lnTo>
                  <a:pt x="1603364" y="341800"/>
                </a:lnTo>
                <a:lnTo>
                  <a:pt x="1708605" y="266040"/>
                </a:lnTo>
                <a:cubicBezTo>
                  <a:pt x="2413918" y="-189719"/>
                  <a:pt x="3359287" y="-50780"/>
                  <a:pt x="3889232" y="612826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err="1"/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3A9F755D-08C8-1B05-6112-D9538D0D4CCF}"/>
              </a:ext>
            </a:extLst>
          </p:cNvPr>
          <p:cNvSpPr/>
          <p:nvPr userDrawn="1"/>
        </p:nvSpPr>
        <p:spPr>
          <a:xfrm rot="13400277">
            <a:off x="10165496" y="5116410"/>
            <a:ext cx="5597222" cy="4342799"/>
          </a:xfrm>
          <a:custGeom>
            <a:avLst/>
            <a:gdLst>
              <a:gd name="connsiteX0" fmla="*/ 3889232 w 4244988"/>
              <a:gd name="connsiteY0" fmla="*/ 612826 h 3293622"/>
              <a:gd name="connsiteX1" fmla="*/ 3617977 w 4244988"/>
              <a:gd name="connsiteY1" fmla="*/ 2928481 h 3293622"/>
              <a:gd name="connsiteX2" fmla="*/ 1299683 w 4244988"/>
              <a:gd name="connsiteY2" fmla="*/ 2680796 h 3293622"/>
              <a:gd name="connsiteX3" fmla="*/ 1224707 w 4244988"/>
              <a:gd name="connsiteY3" fmla="*/ 2579169 h 3293622"/>
              <a:gd name="connsiteX4" fmla="*/ 1163631 w 4244988"/>
              <a:gd name="connsiteY4" fmla="*/ 2481534 h 3293622"/>
              <a:gd name="connsiteX5" fmla="*/ 1162772 w 4244988"/>
              <a:gd name="connsiteY5" fmla="*/ 2482220 h 3293622"/>
              <a:gd name="connsiteX6" fmla="*/ 1066262 w 4244988"/>
              <a:gd name="connsiteY6" fmla="*/ 2329542 h 3293622"/>
              <a:gd name="connsiteX7" fmla="*/ 303465 w 4244988"/>
              <a:gd name="connsiteY7" fmla="*/ 1782295 h 3293622"/>
              <a:gd name="connsiteX8" fmla="*/ 160860 w 4244988"/>
              <a:gd name="connsiteY8" fmla="*/ 1769870 h 3293622"/>
              <a:gd name="connsiteX9" fmla="*/ 160172 w 4244988"/>
              <a:gd name="connsiteY9" fmla="*/ 1769009 h 3293622"/>
              <a:gd name="connsiteX10" fmla="*/ 106474 w 4244988"/>
              <a:gd name="connsiteY10" fmla="*/ 1769009 h 3293622"/>
              <a:gd name="connsiteX11" fmla="*/ 100125 w 4244988"/>
              <a:gd name="connsiteY11" fmla="*/ 1769873 h 3293622"/>
              <a:gd name="connsiteX12" fmla="*/ 21932 w 4244988"/>
              <a:gd name="connsiteY12" fmla="*/ 1732067 h 3293622"/>
              <a:gd name="connsiteX13" fmla="*/ 12753 w 4244988"/>
              <a:gd name="connsiteY13" fmla="*/ 1619690 h 3293622"/>
              <a:gd name="connsiteX14" fmla="*/ 29905 w 4244988"/>
              <a:gd name="connsiteY14" fmla="*/ 1599352 h 3293622"/>
              <a:gd name="connsiteX15" fmla="*/ 28165 w 4244988"/>
              <a:gd name="connsiteY15" fmla="*/ 1597173 h 3293622"/>
              <a:gd name="connsiteX16" fmla="*/ 39122 w 4244988"/>
              <a:gd name="connsiteY16" fmla="*/ 1588423 h 3293622"/>
              <a:gd name="connsiteX17" fmla="*/ 39125 w 4244988"/>
              <a:gd name="connsiteY17" fmla="*/ 1588420 h 3293622"/>
              <a:gd name="connsiteX18" fmla="*/ 39130 w 4244988"/>
              <a:gd name="connsiteY18" fmla="*/ 1588417 h 3293622"/>
              <a:gd name="connsiteX19" fmla="*/ 1570938 w 4244988"/>
              <a:gd name="connsiteY19" fmla="*/ 365142 h 3293622"/>
              <a:gd name="connsiteX20" fmla="*/ 1602119 w 4244988"/>
              <a:gd name="connsiteY20" fmla="*/ 340241 h 3293622"/>
              <a:gd name="connsiteX21" fmla="*/ 1603364 w 4244988"/>
              <a:gd name="connsiteY21" fmla="*/ 341800 h 3293622"/>
              <a:gd name="connsiteX22" fmla="*/ 1708605 w 4244988"/>
              <a:gd name="connsiteY22" fmla="*/ 266040 h 3293622"/>
              <a:gd name="connsiteX23" fmla="*/ 3889232 w 4244988"/>
              <a:gd name="connsiteY23" fmla="*/ 612826 h 32936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4244988" h="3293622">
                <a:moveTo>
                  <a:pt x="3889232" y="612826"/>
                </a:moveTo>
                <a:cubicBezTo>
                  <a:pt x="4454506" y="1320673"/>
                  <a:pt x="4333061" y="2357427"/>
                  <a:pt x="3617977" y="2928481"/>
                </a:cubicBezTo>
                <a:cubicBezTo>
                  <a:pt x="2902892" y="3499535"/>
                  <a:pt x="1864957" y="3388643"/>
                  <a:pt x="1299683" y="2680796"/>
                </a:cubicBezTo>
                <a:cubicBezTo>
                  <a:pt x="1273185" y="2647616"/>
                  <a:pt x="1248197" y="2613713"/>
                  <a:pt x="1224707" y="2579169"/>
                </a:cubicBezTo>
                <a:lnTo>
                  <a:pt x="1163631" y="2481534"/>
                </a:lnTo>
                <a:lnTo>
                  <a:pt x="1162772" y="2482220"/>
                </a:lnTo>
                <a:lnTo>
                  <a:pt x="1066262" y="2329542"/>
                </a:lnTo>
                <a:cubicBezTo>
                  <a:pt x="848799" y="2029269"/>
                  <a:pt x="561714" y="1833589"/>
                  <a:pt x="303465" y="1782295"/>
                </a:cubicBezTo>
                <a:lnTo>
                  <a:pt x="160860" y="1769870"/>
                </a:lnTo>
                <a:lnTo>
                  <a:pt x="160172" y="1769009"/>
                </a:lnTo>
                <a:lnTo>
                  <a:pt x="106474" y="1769009"/>
                </a:lnTo>
                <a:lnTo>
                  <a:pt x="100125" y="1769873"/>
                </a:lnTo>
                <a:cubicBezTo>
                  <a:pt x="70606" y="1769618"/>
                  <a:pt x="41612" y="1756710"/>
                  <a:pt x="21932" y="1732067"/>
                </a:cubicBezTo>
                <a:cubicBezTo>
                  <a:pt x="-4308" y="1699209"/>
                  <a:pt x="-6539" y="1654818"/>
                  <a:pt x="12753" y="1619690"/>
                </a:cubicBezTo>
                <a:lnTo>
                  <a:pt x="29905" y="1599352"/>
                </a:lnTo>
                <a:lnTo>
                  <a:pt x="28165" y="1597173"/>
                </a:lnTo>
                <a:lnTo>
                  <a:pt x="39122" y="1588423"/>
                </a:lnTo>
                <a:lnTo>
                  <a:pt x="39125" y="1588420"/>
                </a:lnTo>
                <a:lnTo>
                  <a:pt x="39130" y="1588417"/>
                </a:lnTo>
                <a:lnTo>
                  <a:pt x="1570938" y="365142"/>
                </a:lnTo>
                <a:lnTo>
                  <a:pt x="1602119" y="340241"/>
                </a:lnTo>
                <a:lnTo>
                  <a:pt x="1603364" y="341800"/>
                </a:lnTo>
                <a:lnTo>
                  <a:pt x="1708605" y="266040"/>
                </a:lnTo>
                <a:cubicBezTo>
                  <a:pt x="2413918" y="-189719"/>
                  <a:pt x="3359287" y="-50780"/>
                  <a:pt x="3889232" y="612826"/>
                </a:cubicBezTo>
                <a:close/>
              </a:path>
            </a:pathLst>
          </a:custGeom>
          <a:noFill/>
          <a:ln w="2159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err="1"/>
          </a:p>
        </p:txBody>
      </p:sp>
      <p:sp>
        <p:nvSpPr>
          <p:cNvPr id="5" name="Freeform 4">
            <a:extLst>
              <a:ext uri="{FF2B5EF4-FFF2-40B4-BE49-F238E27FC236}">
                <a16:creationId xmlns:a16="http://schemas.microsoft.com/office/drawing/2014/main" id="{D32A53CD-DAC9-85C7-D3C2-B432F98B0C4B}"/>
              </a:ext>
            </a:extLst>
          </p:cNvPr>
          <p:cNvSpPr/>
          <p:nvPr userDrawn="1"/>
        </p:nvSpPr>
        <p:spPr>
          <a:xfrm rot="2778764">
            <a:off x="-2081561" y="27302"/>
            <a:ext cx="3071896" cy="2383437"/>
          </a:xfrm>
          <a:custGeom>
            <a:avLst/>
            <a:gdLst>
              <a:gd name="connsiteX0" fmla="*/ 3889232 w 4244988"/>
              <a:gd name="connsiteY0" fmla="*/ 612826 h 3293622"/>
              <a:gd name="connsiteX1" fmla="*/ 3617977 w 4244988"/>
              <a:gd name="connsiteY1" fmla="*/ 2928481 h 3293622"/>
              <a:gd name="connsiteX2" fmla="*/ 1299683 w 4244988"/>
              <a:gd name="connsiteY2" fmla="*/ 2680796 h 3293622"/>
              <a:gd name="connsiteX3" fmla="*/ 1224707 w 4244988"/>
              <a:gd name="connsiteY3" fmla="*/ 2579169 h 3293622"/>
              <a:gd name="connsiteX4" fmla="*/ 1163631 w 4244988"/>
              <a:gd name="connsiteY4" fmla="*/ 2481534 h 3293622"/>
              <a:gd name="connsiteX5" fmla="*/ 1162772 w 4244988"/>
              <a:gd name="connsiteY5" fmla="*/ 2482220 h 3293622"/>
              <a:gd name="connsiteX6" fmla="*/ 1066262 w 4244988"/>
              <a:gd name="connsiteY6" fmla="*/ 2329542 h 3293622"/>
              <a:gd name="connsiteX7" fmla="*/ 303465 w 4244988"/>
              <a:gd name="connsiteY7" fmla="*/ 1782295 h 3293622"/>
              <a:gd name="connsiteX8" fmla="*/ 160860 w 4244988"/>
              <a:gd name="connsiteY8" fmla="*/ 1769870 h 3293622"/>
              <a:gd name="connsiteX9" fmla="*/ 160172 w 4244988"/>
              <a:gd name="connsiteY9" fmla="*/ 1769009 h 3293622"/>
              <a:gd name="connsiteX10" fmla="*/ 106474 w 4244988"/>
              <a:gd name="connsiteY10" fmla="*/ 1769009 h 3293622"/>
              <a:gd name="connsiteX11" fmla="*/ 100125 w 4244988"/>
              <a:gd name="connsiteY11" fmla="*/ 1769873 h 3293622"/>
              <a:gd name="connsiteX12" fmla="*/ 21932 w 4244988"/>
              <a:gd name="connsiteY12" fmla="*/ 1732067 h 3293622"/>
              <a:gd name="connsiteX13" fmla="*/ 12753 w 4244988"/>
              <a:gd name="connsiteY13" fmla="*/ 1619690 h 3293622"/>
              <a:gd name="connsiteX14" fmla="*/ 29905 w 4244988"/>
              <a:gd name="connsiteY14" fmla="*/ 1599352 h 3293622"/>
              <a:gd name="connsiteX15" fmla="*/ 28165 w 4244988"/>
              <a:gd name="connsiteY15" fmla="*/ 1597173 h 3293622"/>
              <a:gd name="connsiteX16" fmla="*/ 39122 w 4244988"/>
              <a:gd name="connsiteY16" fmla="*/ 1588423 h 3293622"/>
              <a:gd name="connsiteX17" fmla="*/ 39125 w 4244988"/>
              <a:gd name="connsiteY17" fmla="*/ 1588420 h 3293622"/>
              <a:gd name="connsiteX18" fmla="*/ 39130 w 4244988"/>
              <a:gd name="connsiteY18" fmla="*/ 1588417 h 3293622"/>
              <a:gd name="connsiteX19" fmla="*/ 1570938 w 4244988"/>
              <a:gd name="connsiteY19" fmla="*/ 365142 h 3293622"/>
              <a:gd name="connsiteX20" fmla="*/ 1602119 w 4244988"/>
              <a:gd name="connsiteY20" fmla="*/ 340241 h 3293622"/>
              <a:gd name="connsiteX21" fmla="*/ 1603364 w 4244988"/>
              <a:gd name="connsiteY21" fmla="*/ 341800 h 3293622"/>
              <a:gd name="connsiteX22" fmla="*/ 1708605 w 4244988"/>
              <a:gd name="connsiteY22" fmla="*/ 266040 h 3293622"/>
              <a:gd name="connsiteX23" fmla="*/ 3889232 w 4244988"/>
              <a:gd name="connsiteY23" fmla="*/ 612826 h 32936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4244988" h="3293622">
                <a:moveTo>
                  <a:pt x="3889232" y="612826"/>
                </a:moveTo>
                <a:cubicBezTo>
                  <a:pt x="4454506" y="1320673"/>
                  <a:pt x="4333061" y="2357427"/>
                  <a:pt x="3617977" y="2928481"/>
                </a:cubicBezTo>
                <a:cubicBezTo>
                  <a:pt x="2902892" y="3499535"/>
                  <a:pt x="1864957" y="3388643"/>
                  <a:pt x="1299683" y="2680796"/>
                </a:cubicBezTo>
                <a:cubicBezTo>
                  <a:pt x="1273185" y="2647616"/>
                  <a:pt x="1248197" y="2613713"/>
                  <a:pt x="1224707" y="2579169"/>
                </a:cubicBezTo>
                <a:lnTo>
                  <a:pt x="1163631" y="2481534"/>
                </a:lnTo>
                <a:lnTo>
                  <a:pt x="1162772" y="2482220"/>
                </a:lnTo>
                <a:lnTo>
                  <a:pt x="1066262" y="2329542"/>
                </a:lnTo>
                <a:cubicBezTo>
                  <a:pt x="848799" y="2029269"/>
                  <a:pt x="561714" y="1833589"/>
                  <a:pt x="303465" y="1782295"/>
                </a:cubicBezTo>
                <a:lnTo>
                  <a:pt x="160860" y="1769870"/>
                </a:lnTo>
                <a:lnTo>
                  <a:pt x="160172" y="1769009"/>
                </a:lnTo>
                <a:lnTo>
                  <a:pt x="106474" y="1769009"/>
                </a:lnTo>
                <a:lnTo>
                  <a:pt x="100125" y="1769873"/>
                </a:lnTo>
                <a:cubicBezTo>
                  <a:pt x="70606" y="1769618"/>
                  <a:pt x="41612" y="1756710"/>
                  <a:pt x="21932" y="1732067"/>
                </a:cubicBezTo>
                <a:cubicBezTo>
                  <a:pt x="-4308" y="1699209"/>
                  <a:pt x="-6539" y="1654818"/>
                  <a:pt x="12753" y="1619690"/>
                </a:cubicBezTo>
                <a:lnTo>
                  <a:pt x="29905" y="1599352"/>
                </a:lnTo>
                <a:lnTo>
                  <a:pt x="28165" y="1597173"/>
                </a:lnTo>
                <a:lnTo>
                  <a:pt x="39122" y="1588423"/>
                </a:lnTo>
                <a:lnTo>
                  <a:pt x="39125" y="1588420"/>
                </a:lnTo>
                <a:lnTo>
                  <a:pt x="39130" y="1588417"/>
                </a:lnTo>
                <a:lnTo>
                  <a:pt x="1570938" y="365142"/>
                </a:lnTo>
                <a:lnTo>
                  <a:pt x="1602119" y="340241"/>
                </a:lnTo>
                <a:lnTo>
                  <a:pt x="1603364" y="341800"/>
                </a:lnTo>
                <a:lnTo>
                  <a:pt x="1708605" y="266040"/>
                </a:lnTo>
                <a:cubicBezTo>
                  <a:pt x="2413918" y="-189719"/>
                  <a:pt x="3359287" y="-50780"/>
                  <a:pt x="3889232" y="612826"/>
                </a:cubicBezTo>
                <a:close/>
              </a:path>
            </a:pathLst>
          </a:custGeom>
          <a:noFill/>
          <a:ln w="1587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err="1"/>
          </a:p>
        </p:txBody>
      </p:sp>
    </p:spTree>
    <p:extLst>
      <p:ext uri="{BB962C8B-B14F-4D97-AF65-F5344CB8AC3E}">
        <p14:creationId xmlns:p14="http://schemas.microsoft.com/office/powerpoint/2010/main" val="27773485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tags" Target="../tags/tag1.xml"/><Relationship Id="rId50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9512DC5-6A8A-B96B-6EF5-4220538892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7"/>
            </p:custDataLst>
            <p:extLst>
              <p:ext uri="{D42A27DB-BD31-4B8C-83A1-F6EECF244321}">
                <p14:modId xmlns:p14="http://schemas.microsoft.com/office/powerpoint/2010/main" val="11224755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8" imgW="498" imgH="499" progId="TCLayout.ActiveDocument.1">
                  <p:embed/>
                </p:oleObj>
              </mc:Choice>
              <mc:Fallback>
                <p:oleObj name="think-cell Slide" r:id="rId48" imgW="498" imgH="49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9512DC5-6A8A-B96B-6EF5-4220538892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>
            <a:extLst>
              <a:ext uri="{FF2B5EF4-FFF2-40B4-BE49-F238E27FC236}">
                <a16:creationId xmlns:a16="http://schemas.microsoft.com/office/drawing/2014/main" id="{90952B16-4FEF-2546-A8DE-AB893C070681}"/>
              </a:ext>
            </a:extLst>
          </p:cNvPr>
          <p:cNvSpPr/>
          <p:nvPr userDrawn="1"/>
        </p:nvSpPr>
        <p:spPr>
          <a:xfrm>
            <a:off x="0" y="115888"/>
            <a:ext cx="12192000" cy="61928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50863" y="657225"/>
            <a:ext cx="11090275" cy="81615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50863" y="1634864"/>
            <a:ext cx="11090275" cy="40991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9993" y="6456998"/>
            <a:ext cx="271144" cy="17526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fld id="{3F2B5CF4-79E2-4BCE-8F81-53ED60D4893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0" name="Straight Connector 9"/>
          <p:cNvCxnSpPr/>
          <p:nvPr userDrawn="1"/>
        </p:nvCxnSpPr>
        <p:spPr>
          <a:xfrm flipH="1">
            <a:off x="11369993" y="6635115"/>
            <a:ext cx="27114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 userDrawn="1"/>
        </p:nvCxnSpPr>
        <p:spPr>
          <a:xfrm flipH="1">
            <a:off x="11369993" y="6442437"/>
            <a:ext cx="27114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 userDrawn="1"/>
        </p:nvSpPr>
        <p:spPr>
          <a:xfrm flipH="1">
            <a:off x="550863" y="6595778"/>
            <a:ext cx="1652387" cy="1077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400" cap="all" spc="80">
                <a:solidFill>
                  <a:schemeClr val="tx1"/>
                </a:solidFill>
              </a:rPr>
              <a:t>©</a:t>
            </a:r>
            <a:r>
              <a:rPr lang="en-US" sz="400" cap="all" spc="0" baseline="0">
                <a:solidFill>
                  <a:schemeClr val="tx1"/>
                </a:solidFill>
              </a:rPr>
              <a:t> </a:t>
            </a:r>
            <a:r>
              <a:rPr lang="en-US" sz="400" cap="all" spc="80">
                <a:solidFill>
                  <a:schemeClr val="tx1"/>
                </a:solidFill>
              </a:rPr>
              <a:t>Oriflame Cosmetics</a:t>
            </a:r>
            <a:r>
              <a:rPr lang="en-US" sz="400" cap="all" spc="80" baseline="0">
                <a:solidFill>
                  <a:schemeClr val="tx1"/>
                </a:solidFill>
              </a:rPr>
              <a:t> AG,2023</a:t>
            </a:r>
            <a:endParaRPr lang="en-US" sz="1600" cap="all" spc="80">
              <a:solidFill>
                <a:schemeClr val="tx1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5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23868" y="6438375"/>
            <a:ext cx="1143000" cy="2149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50679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SzPct val="110000"/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1pPr>
      <a:lvl2pPr marL="501650" indent="-236538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−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717550" indent="-2159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−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944563" indent="-246063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−"/>
        <a:defRPr sz="2000" kern="1200">
          <a:solidFill>
            <a:schemeClr val="bg1"/>
          </a:solidFill>
          <a:latin typeface="+mn-lt"/>
          <a:ea typeface="+mn-ea"/>
          <a:cs typeface="+mn-cs"/>
        </a:defRPr>
      </a:lvl4pPr>
      <a:lvl5pPr marL="1169988" indent="-22542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−"/>
        <a:defRPr sz="20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47">
          <p15:clr>
            <a:srgbClr val="F26B43"/>
          </p15:clr>
        </p15:guide>
        <p15:guide id="2" pos="7333">
          <p15:clr>
            <a:srgbClr val="F26B43"/>
          </p15:clr>
        </p15:guide>
        <p15:guide id="3" orient="horz" pos="1026">
          <p15:clr>
            <a:srgbClr val="F26B43"/>
          </p15:clr>
        </p15:guide>
        <p15:guide id="4" orient="horz" pos="1185">
          <p15:clr>
            <a:srgbClr val="F26B43"/>
          </p15:clr>
        </p15:guide>
        <p15:guide id="5" orient="horz" pos="3612">
          <p15:clr>
            <a:srgbClr val="F26B43"/>
          </p15:clr>
        </p15:guide>
        <p15:guide id="6" orient="horz" pos="73">
          <p15:clr>
            <a:srgbClr val="F26B43"/>
          </p15:clr>
        </p15:guide>
        <p15:guide id="7" orient="horz" pos="3974">
          <p15:clr>
            <a:srgbClr val="F26B43"/>
          </p15:clr>
        </p15:guide>
        <p15:guide id="8" orient="horz" pos="414">
          <p15:clr>
            <a:srgbClr val="F26B43"/>
          </p15:clr>
        </p15:guide>
        <p15:guide id="9" pos="3840">
          <p15:clr>
            <a:srgbClr val="F26B43"/>
          </p15:clr>
        </p15:guide>
        <p15:guide id="10" orient="horz" pos="799">
          <p15:clr>
            <a:srgbClr val="F26B43"/>
          </p15:clr>
        </p15:guide>
        <p15:guide id="11" orient="horz" pos="595">
          <p15:clr>
            <a:srgbClr val="F26B43"/>
          </p15:clr>
        </p15:guide>
        <p15:guide id="12" pos="5110">
          <p15:clr>
            <a:srgbClr val="F26B43"/>
          </p15:clr>
        </p15:guide>
        <p15:guide id="13" pos="411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8200AEE-B44D-1B35-5EE8-4A48D716C0E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8" imgH="499" progId="TCLayout.ActiveDocument.1">
                  <p:embed/>
                </p:oleObj>
              </mc:Choice>
              <mc:Fallback>
                <p:oleObj name="think-cell Slide" r:id="rId3" imgW="498" imgH="49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8200AEE-B44D-1B35-5EE8-4A48D716C0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34E3314-CC13-E7B8-8AC0-766D3F28685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F2B5CF4-79E2-4BCE-8F81-53ED60D4893F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64656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64656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A664E7D-47AE-2B3C-B5C7-583AF9A7A82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22922" y="1855515"/>
            <a:ext cx="8146155" cy="2402691"/>
          </a:xfrm>
        </p:spPr>
        <p:txBody>
          <a:bodyPr vert="horz"/>
          <a:lstStyle/>
          <a:p>
            <a:r>
              <a:rPr lang="en-GB" strike="sngStrike" dirty="0"/>
              <a:t>FAST</a:t>
            </a:r>
            <a:r>
              <a:rPr lang="en-GB" dirty="0"/>
              <a:t> START PROGRAM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8837082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8200AEE-B44D-1B35-5EE8-4A48D716C0E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8" imgH="499" progId="TCLayout.ActiveDocument.1">
                  <p:embed/>
                </p:oleObj>
              </mc:Choice>
              <mc:Fallback>
                <p:oleObj name="think-cell Slide" r:id="rId3" imgW="498" imgH="49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8200AEE-B44D-1B35-5EE8-4A48D716C0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34E3314-CC13-E7B8-8AC0-766D3F28685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F2B5CF4-79E2-4BCE-8F81-53ED60D4893F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64656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64656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A664E7D-47AE-2B3C-B5C7-583AF9A7A82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06391" y="1943167"/>
            <a:ext cx="9779218" cy="2971666"/>
          </a:xfrm>
        </p:spPr>
        <p:txBody>
          <a:bodyPr vert="horz"/>
          <a:lstStyle/>
          <a:p>
            <a:r>
              <a:rPr lang="en-GB" sz="11500" dirty="0"/>
              <a:t>SUPER FAST </a:t>
            </a:r>
            <a:br>
              <a:rPr lang="en-GB" sz="13800" dirty="0"/>
            </a:br>
            <a:r>
              <a:rPr lang="en-GB" dirty="0"/>
              <a:t>START PROGRAM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547912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4E043C1-6B93-D007-F350-5E968FD4642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8" imgH="499" progId="TCLayout.ActiveDocument.1">
                  <p:embed/>
                </p:oleObj>
              </mc:Choice>
              <mc:Fallback>
                <p:oleObj name="think-cell Slide" r:id="rId3" imgW="498" imgH="49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4E043C1-6B93-D007-F350-5E968FD464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B37794E-66C3-F2C7-26E7-E303D6A8EC8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F2B5CF4-79E2-4BCE-8F81-53ED60D4893F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64656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64656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79BCC1F-7BA6-0324-D277-29D5B3F75C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65119" y="2411897"/>
            <a:ext cx="3066640" cy="1277601"/>
          </a:xfrm>
        </p:spPr>
        <p:txBody>
          <a:bodyPr vert="horz"/>
          <a:lstStyle/>
          <a:p>
            <a:r>
              <a:rPr lang="en-GB" sz="8800" b="1" dirty="0"/>
              <a:t>IGÅR</a:t>
            </a:r>
            <a:endParaRPr lang="ru-RU" b="1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5D2EA24-A025-7A94-4111-E443FEA6FB71}"/>
              </a:ext>
            </a:extLst>
          </p:cNvPr>
          <p:cNvSpPr txBox="1"/>
          <p:nvPr/>
        </p:nvSpPr>
        <p:spPr>
          <a:xfrm>
            <a:off x="5709684" y="643622"/>
            <a:ext cx="6018028" cy="557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400" b="1" i="1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EP 1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1" i="1" u="sng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000" b="0" i="0" u="none" strike="noStrike" kern="1200" cap="none" spc="0" normalizeH="0" baseline="0" noProof="0" dirty="0">
                <a:ln>
                  <a:noFill/>
                </a:ln>
                <a:solidFill>
                  <a:srgbClr val="64656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50k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64656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400" b="1" i="1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EP 2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64656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000" b="0" i="0" u="none" strike="noStrike" kern="1200" cap="none" spc="0" normalizeH="0" baseline="0" noProof="0" dirty="0">
                <a:ln>
                  <a:noFill/>
                </a:ln>
                <a:solidFill>
                  <a:srgbClr val="64656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00k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1" i="1" u="sng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000" b="1" i="1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TAL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64656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000" b="0" i="0" u="none" strike="noStrike" kern="1200" cap="none" spc="0" normalizeH="0" baseline="0" noProof="0" dirty="0">
                <a:ln>
                  <a:noFill/>
                </a:ln>
                <a:solidFill>
                  <a:srgbClr val="64656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750kr</a:t>
            </a:r>
            <a:endParaRPr kumimoji="0" lang="ru-RU" sz="4000" b="1" i="1" u="sng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753916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4E043C1-6B93-D007-F350-5E968FD4642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4E043C1-6B93-D007-F350-5E968FD464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B37794E-66C3-F2C7-26E7-E303D6A8EC8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F2B5CF4-79E2-4BCE-8F81-53ED60D4893F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64656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64656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79BCC1F-7BA6-0324-D277-29D5B3F75C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5510" y="1786270"/>
            <a:ext cx="3630164" cy="2456121"/>
          </a:xfrm>
        </p:spPr>
        <p:txBody>
          <a:bodyPr vert="horz"/>
          <a:lstStyle/>
          <a:p>
            <a:pPr algn="ctr"/>
            <a:r>
              <a:rPr lang="en-GB" sz="8800" b="1" dirty="0"/>
              <a:t>F</a:t>
            </a:r>
            <a:r>
              <a:rPr lang="en-GB" sz="8800" b="1"/>
              <a:t>ra</a:t>
            </a:r>
            <a:br>
              <a:rPr lang="en-GB" sz="8800" b="1" dirty="0"/>
            </a:br>
            <a:r>
              <a:rPr lang="en-GB" sz="8800" b="1" dirty="0"/>
              <a:t>P3 ´23</a:t>
            </a:r>
            <a:endParaRPr lang="ru-RU" b="1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5D2EA24-A025-7A94-4111-E443FEA6FB71}"/>
              </a:ext>
            </a:extLst>
          </p:cNvPr>
          <p:cNvSpPr txBox="1"/>
          <p:nvPr/>
        </p:nvSpPr>
        <p:spPr>
          <a:xfrm>
            <a:off x="5709684" y="643622"/>
            <a:ext cx="6018028" cy="557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400" b="1" i="1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EP 1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1" i="1" u="sng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000" b="0" i="0" u="none" strike="noStrike" kern="1200" cap="none" spc="0" normalizeH="0" baseline="0" noProof="0" dirty="0">
                <a:ln>
                  <a:noFill/>
                </a:ln>
                <a:solidFill>
                  <a:srgbClr val="64656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00k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64656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400" b="1" i="1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EP 2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64656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000" b="0" i="0" u="none" strike="noStrike" kern="1200" cap="none" spc="0" normalizeH="0" baseline="0" noProof="0" dirty="0">
                <a:ln>
                  <a:noFill/>
                </a:ln>
                <a:solidFill>
                  <a:srgbClr val="64656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000k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1" i="1" u="sng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000" b="1" i="1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TAL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64656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000" b="0" i="0" u="none" strike="noStrike" kern="1200" cap="none" spc="0" normalizeH="0" baseline="0" noProof="0" dirty="0">
                <a:ln>
                  <a:noFill/>
                </a:ln>
                <a:solidFill>
                  <a:srgbClr val="64656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500kr</a:t>
            </a:r>
            <a:endParaRPr kumimoji="0" lang="ru-RU" sz="4000" b="1" i="1" u="sng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61767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0271F4C4-1E6E-9DDC-40F5-DF36BEA2D874}"/>
              </a:ext>
            </a:extLst>
          </p:cNvPr>
          <p:cNvSpPr txBox="1">
            <a:spLocks noGrp="1"/>
          </p:cNvSpPr>
          <p:nvPr>
            <p:ph type="ctrTitle"/>
          </p:nvPr>
        </p:nvSpPr>
        <p:spPr>
          <a:xfrm>
            <a:off x="550864" y="874562"/>
            <a:ext cx="5545136" cy="39395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nb-NO" sz="2000" b="1" dirty="0">
                <a:ea typeface="+mn-ea"/>
                <a:cs typeface="+mn-cs"/>
              </a:rPr>
              <a:t>Som ny Brand Partner kan du tjene opptil 1500 kr ekstra i løpet av dine første 90 dager* med Oriflame!</a:t>
            </a:r>
            <a:br>
              <a:rPr lang="nb-NO" sz="2000" b="1" dirty="0">
                <a:ea typeface="+mn-ea"/>
                <a:cs typeface="+mn-cs"/>
              </a:rPr>
            </a:br>
            <a:br>
              <a:rPr lang="nb-NO" sz="2000" b="1" dirty="0">
                <a:ea typeface="+mn-ea"/>
                <a:cs typeface="+mn-cs"/>
              </a:rPr>
            </a:br>
            <a:r>
              <a:rPr lang="nb-NO" sz="1600" b="1" dirty="0">
                <a:ea typeface="+mn-ea"/>
                <a:cs typeface="+mn-cs"/>
              </a:rPr>
              <a:t>Steg 1 </a:t>
            </a:r>
            <a:r>
              <a:rPr lang="nb-NO" sz="1600" dirty="0">
                <a:ea typeface="+mn-ea"/>
                <a:cs typeface="+mn-cs"/>
              </a:rPr>
              <a:t>– åpne din egen nettbutikk, en Personal </a:t>
            </a:r>
            <a:r>
              <a:rPr lang="nb-NO" sz="1600" dirty="0" err="1">
                <a:ea typeface="+mn-ea"/>
                <a:cs typeface="+mn-cs"/>
              </a:rPr>
              <a:t>Beauty</a:t>
            </a:r>
            <a:r>
              <a:rPr lang="nb-NO" sz="1600" dirty="0">
                <a:ea typeface="+mn-ea"/>
                <a:cs typeface="+mn-cs"/>
              </a:rPr>
              <a:t> Store</a:t>
            </a:r>
            <a:br>
              <a:rPr lang="nb-NO" sz="1600" dirty="0">
                <a:ea typeface="+mn-ea"/>
                <a:cs typeface="+mn-cs"/>
              </a:rPr>
            </a:br>
            <a:r>
              <a:rPr lang="nb-NO" sz="1600" dirty="0">
                <a:ea typeface="+mn-ea"/>
                <a:cs typeface="+mn-cs"/>
              </a:rPr>
              <a:t>(PBS). Det går raskt og er superenkelt.</a:t>
            </a:r>
            <a:br>
              <a:rPr lang="nb-NO" sz="1600" dirty="0">
                <a:ea typeface="+mn-ea"/>
                <a:cs typeface="+mn-cs"/>
              </a:rPr>
            </a:br>
            <a:br>
              <a:rPr lang="nb-NO" sz="1600" dirty="0">
                <a:ea typeface="+mn-ea"/>
                <a:cs typeface="+mn-cs"/>
              </a:rPr>
            </a:br>
            <a:r>
              <a:rPr lang="nb-NO" sz="1600" b="1" dirty="0">
                <a:ea typeface="+mn-ea"/>
                <a:cs typeface="+mn-cs"/>
              </a:rPr>
              <a:t>Steg 2 </a:t>
            </a:r>
            <a:r>
              <a:rPr lang="nb-NO" sz="1600" dirty="0">
                <a:ea typeface="+mn-ea"/>
                <a:cs typeface="+mn-cs"/>
              </a:rPr>
              <a:t>– anbefal dine favorittprodukter, og del lenken til din</a:t>
            </a:r>
            <a:br>
              <a:rPr lang="nb-NO" sz="1600" dirty="0">
                <a:ea typeface="+mn-ea"/>
                <a:cs typeface="+mn-cs"/>
              </a:rPr>
            </a:br>
            <a:r>
              <a:rPr lang="nb-NO" sz="1600" dirty="0">
                <a:ea typeface="+mn-ea"/>
                <a:cs typeface="+mn-cs"/>
              </a:rPr>
              <a:t>PBS med så mange som mulig.</a:t>
            </a:r>
            <a:br>
              <a:rPr lang="nb-NO" sz="1600" dirty="0">
                <a:ea typeface="+mn-ea"/>
                <a:cs typeface="+mn-cs"/>
              </a:rPr>
            </a:br>
            <a:br>
              <a:rPr lang="nb-NO" sz="1600" dirty="0">
                <a:ea typeface="+mn-ea"/>
                <a:cs typeface="+mn-cs"/>
              </a:rPr>
            </a:br>
            <a:r>
              <a:rPr lang="nb-NO" sz="1600" b="1" dirty="0">
                <a:ea typeface="+mn-ea"/>
                <a:cs typeface="+mn-cs"/>
              </a:rPr>
              <a:t>Steg 3 </a:t>
            </a:r>
            <a:r>
              <a:rPr lang="nb-NO" sz="1600" dirty="0">
                <a:ea typeface="+mn-ea"/>
                <a:cs typeface="+mn-cs"/>
              </a:rPr>
              <a:t>– ønsk dine første VIP-kunder velkommen og hjelp minst tre av dem til å legge inn en ordre på 500 kr eller mer i løpet av dine fire første hele perioder (90 dager*).</a:t>
            </a:r>
            <a:br>
              <a:rPr lang="sv-SE" sz="1600" dirty="0">
                <a:solidFill>
                  <a:schemeClr val="tx1"/>
                </a:solidFill>
              </a:rPr>
            </a:br>
            <a:br>
              <a:rPr lang="sv-SE" sz="1600" dirty="0">
                <a:solidFill>
                  <a:schemeClr val="tx1"/>
                </a:solidFill>
              </a:rPr>
            </a:br>
            <a:r>
              <a:rPr lang="nb-NO" sz="1600" b="1" dirty="0"/>
              <a:t>Steg 4 </a:t>
            </a:r>
            <a:r>
              <a:rPr lang="nb-NO" sz="1600" dirty="0"/>
              <a:t>– få </a:t>
            </a:r>
            <a:r>
              <a:rPr lang="nb-NO" sz="1600" b="1" dirty="0"/>
              <a:t>500 kr</a:t>
            </a:r>
            <a:endParaRPr kumimoji="0" lang="en-GB" sz="160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7528334-E54A-30B5-D7B2-BAB4C1765612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920538" y="6456363"/>
            <a:ext cx="271462" cy="176212"/>
          </a:xfrm>
        </p:spPr>
        <p:txBody>
          <a:bodyPr/>
          <a:lstStyle/>
          <a:p>
            <a:fld id="{3F2B5CF4-79E2-4BCE-8F81-53ED60D4893F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6" name="Title 4">
            <a:extLst>
              <a:ext uri="{FF2B5EF4-FFF2-40B4-BE49-F238E27FC236}">
                <a16:creationId xmlns:a16="http://schemas.microsoft.com/office/drawing/2014/main" id="{2A87EEA7-BF90-0125-185E-8DC9A7264911}"/>
              </a:ext>
            </a:extLst>
          </p:cNvPr>
          <p:cNvSpPr txBox="1">
            <a:spLocks/>
          </p:cNvSpPr>
          <p:nvPr/>
        </p:nvSpPr>
        <p:spPr>
          <a:xfrm>
            <a:off x="6617584" y="1041435"/>
            <a:ext cx="4464262" cy="3693319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0" kern="12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indent="0">
              <a:lnSpc>
                <a:spcPct val="100000"/>
              </a:lnSpc>
              <a:spcBef>
                <a:spcPts val="0"/>
              </a:spcBef>
              <a:defRPr/>
            </a:pPr>
            <a:r>
              <a:rPr lang="nb-NO" sz="1600" b="1" dirty="0">
                <a:solidFill>
                  <a:schemeClr val="tx1"/>
                </a:solidFill>
                <a:ea typeface="+mn-ea"/>
                <a:cs typeface="+mn-cs"/>
              </a:rPr>
              <a:t>Steg 5 </a:t>
            </a:r>
            <a:r>
              <a:rPr lang="nb-NO" sz="1600" dirty="0">
                <a:solidFill>
                  <a:schemeClr val="tx1"/>
                </a:solidFill>
                <a:ea typeface="+mn-ea"/>
                <a:cs typeface="+mn-cs"/>
              </a:rPr>
              <a:t>– ønsk en eller flere nye Brand Partners velkommen i løpet av de fire første hele periodene (90 dager*). Veiled minst en av dem til å oppnå Fast Start-bonusen (det vil si å hjelpe tre nye VIP-kunder til å legge inn en bestilling på 500 kr hver eller mer i løpet av sine første 90 dager*).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defRPr/>
            </a:pPr>
            <a:endParaRPr lang="nb-NO" sz="1600" dirty="0">
              <a:solidFill>
                <a:schemeClr val="tx1"/>
              </a:solidFill>
              <a:ea typeface="+mn-ea"/>
              <a:cs typeface="+mn-cs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defRPr/>
            </a:pPr>
            <a:r>
              <a:rPr lang="nb-NO" sz="1600" b="1" dirty="0">
                <a:solidFill>
                  <a:schemeClr val="tx1"/>
                </a:solidFill>
                <a:ea typeface="+mn-ea"/>
                <a:cs typeface="+mn-cs"/>
              </a:rPr>
              <a:t>Steg 6 </a:t>
            </a:r>
            <a:r>
              <a:rPr lang="nb-NO" sz="1600" dirty="0">
                <a:solidFill>
                  <a:schemeClr val="tx1"/>
                </a:solidFill>
                <a:ea typeface="+mn-ea"/>
                <a:cs typeface="+mn-cs"/>
              </a:rPr>
              <a:t>– få ytterligere </a:t>
            </a:r>
            <a:r>
              <a:rPr lang="nb-NO" sz="1600" b="1" dirty="0">
                <a:solidFill>
                  <a:schemeClr val="tx1"/>
                </a:solidFill>
                <a:ea typeface="+mn-ea"/>
                <a:cs typeface="+mn-cs"/>
              </a:rPr>
              <a:t>1000 kr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defRPr/>
            </a:pPr>
            <a:endParaRPr lang="nb-NO" sz="1600" dirty="0">
              <a:solidFill>
                <a:schemeClr val="tx1"/>
              </a:solidFill>
              <a:ea typeface="+mn-ea"/>
              <a:cs typeface="+mn-cs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defRPr/>
            </a:pPr>
            <a:r>
              <a:rPr lang="nb-NO" sz="1600" dirty="0">
                <a:solidFill>
                  <a:schemeClr val="tx1"/>
                </a:solidFill>
                <a:ea typeface="+mn-ea"/>
                <a:cs typeface="+mn-cs"/>
              </a:rPr>
              <a:t>Disse to bonusene er helt uavhengige av hverandre og du kan tjene inn begge eller kun en av dem. Selv om du ikke har klart å oppnå den første bonusen på 500 kr, kan du likevel tjene inn den andre bonusen på 1000 kr. Den utbetales som en bonus når perioden avsluttes.</a:t>
            </a:r>
            <a:endParaRPr lang="en-GB" sz="1600" dirty="0">
              <a:solidFill>
                <a:schemeClr val="tx1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7" name="Title 4">
            <a:extLst>
              <a:ext uri="{FF2B5EF4-FFF2-40B4-BE49-F238E27FC236}">
                <a16:creationId xmlns:a16="http://schemas.microsoft.com/office/drawing/2014/main" id="{C779C688-EF0E-02BB-E198-E474957A539B}"/>
              </a:ext>
            </a:extLst>
          </p:cNvPr>
          <p:cNvSpPr txBox="1">
            <a:spLocks/>
          </p:cNvSpPr>
          <p:nvPr/>
        </p:nvSpPr>
        <p:spPr>
          <a:xfrm>
            <a:off x="754594" y="4998768"/>
            <a:ext cx="10682812" cy="1107996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0" kern="12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indent="0">
              <a:lnSpc>
                <a:spcPct val="100000"/>
              </a:lnSpc>
              <a:spcBef>
                <a:spcPts val="0"/>
              </a:spcBef>
              <a:defRPr/>
            </a:pPr>
            <a:br>
              <a:rPr lang="en-GB" sz="1200" i="1" dirty="0">
                <a:solidFill>
                  <a:schemeClr val="tx1"/>
                </a:solidFill>
                <a:latin typeface="Arial"/>
                <a:ea typeface="+mn-ea"/>
                <a:cs typeface="+mn-cs"/>
              </a:rPr>
            </a:br>
            <a:br>
              <a:rPr lang="en-GB" sz="1200" i="1" dirty="0">
                <a:solidFill>
                  <a:schemeClr val="tx1"/>
                </a:solidFill>
                <a:latin typeface="Arial"/>
                <a:ea typeface="+mn-ea"/>
                <a:cs typeface="+mn-cs"/>
              </a:rPr>
            </a:br>
            <a:r>
              <a:rPr lang="nb-NO" sz="1200" i="1" dirty="0">
                <a:solidFill>
                  <a:schemeClr val="tx1"/>
                </a:solidFill>
                <a:ea typeface="+mn-ea"/>
                <a:cs typeface="+mn-cs"/>
              </a:rPr>
              <a:t>*For enkelhetens skyld tilsvarer dine første 90 dager tidsrommet mellom den dagen du registrerer deg og stengningsdagen for din fjerde hele periode. Altså ikke det faktiske antallet dager. </a:t>
            </a:r>
            <a:r>
              <a:rPr lang="nb-NO" sz="1200" i="1">
                <a:solidFill>
                  <a:schemeClr val="tx1"/>
                </a:solidFill>
                <a:ea typeface="+mn-ea"/>
                <a:cs typeface="+mn-cs"/>
              </a:rPr>
              <a:t>Dette er </a:t>
            </a:r>
            <a:r>
              <a:rPr lang="nb-NO" sz="1200" i="1" dirty="0">
                <a:solidFill>
                  <a:schemeClr val="tx1"/>
                </a:solidFill>
                <a:ea typeface="+mn-ea"/>
                <a:cs typeface="+mn-cs"/>
              </a:rPr>
              <a:t>en bonussum som oppnås én gang. Programmet kan komme til å bli endret.</a:t>
            </a:r>
            <a:br>
              <a:rPr lang="en-GB" sz="1200" i="1" dirty="0">
                <a:solidFill>
                  <a:schemeClr val="tx1"/>
                </a:solidFill>
                <a:latin typeface="Arial"/>
                <a:ea typeface="+mn-ea"/>
                <a:cs typeface="+mn-cs"/>
              </a:rPr>
            </a:br>
            <a:br>
              <a:rPr lang="en-GB" sz="1200" i="1" dirty="0">
                <a:solidFill>
                  <a:schemeClr val="tx1"/>
                </a:solidFill>
                <a:latin typeface="Arial"/>
                <a:ea typeface="+mn-ea"/>
                <a:cs typeface="+mn-cs"/>
              </a:rPr>
            </a:br>
            <a:r>
              <a:rPr lang="en-GB" sz="1200" i="1" dirty="0" err="1">
                <a:solidFill>
                  <a:schemeClr val="tx1"/>
                </a:solidFill>
                <a:latin typeface="Arial"/>
                <a:ea typeface="+mn-ea"/>
                <a:cs typeface="+mn-cs"/>
              </a:rPr>
              <a:t>Obs</a:t>
            </a:r>
            <a:r>
              <a:rPr lang="en-GB" sz="1200" i="1" dirty="0">
                <a:solidFill>
                  <a:schemeClr val="tx1"/>
                </a:solidFill>
                <a:latin typeface="Arial"/>
                <a:ea typeface="+mn-ea"/>
                <a:cs typeface="+mn-cs"/>
              </a:rPr>
              <a:t>: </a:t>
            </a:r>
            <a:r>
              <a:rPr lang="en-GB" sz="1200" i="1" dirty="0" err="1">
                <a:solidFill>
                  <a:schemeClr val="tx1"/>
                </a:solidFill>
              </a:rPr>
              <a:t>Gjeldende</a:t>
            </a:r>
            <a:r>
              <a:rPr lang="en-GB" sz="1200" i="1" dirty="0">
                <a:solidFill>
                  <a:schemeClr val="tx1"/>
                </a:solidFill>
              </a:rPr>
              <a:t> </a:t>
            </a:r>
            <a:r>
              <a:rPr lang="en-GB" sz="1200" i="1" dirty="0" err="1">
                <a:solidFill>
                  <a:schemeClr val="tx1"/>
                </a:solidFill>
              </a:rPr>
              <a:t>kampanje</a:t>
            </a:r>
            <a:r>
              <a:rPr lang="en-GB" sz="1200" i="1" dirty="0">
                <a:solidFill>
                  <a:schemeClr val="tx1"/>
                </a:solidFill>
              </a:rPr>
              <a:t> </a:t>
            </a:r>
            <a:r>
              <a:rPr lang="en-GB" sz="1200" i="1" dirty="0" err="1">
                <a:solidFill>
                  <a:schemeClr val="tx1"/>
                </a:solidFill>
              </a:rPr>
              <a:t>og</a:t>
            </a:r>
            <a:r>
              <a:rPr lang="en-GB" sz="1200" i="1" dirty="0">
                <a:solidFill>
                  <a:schemeClr val="tx1"/>
                </a:solidFill>
              </a:rPr>
              <a:t> gratis </a:t>
            </a:r>
            <a:r>
              <a:rPr lang="en-GB" sz="1200" i="1" dirty="0" err="1">
                <a:solidFill>
                  <a:schemeClr val="tx1"/>
                </a:solidFill>
              </a:rPr>
              <a:t>frakt</a:t>
            </a:r>
            <a:r>
              <a:rPr lang="en-GB" sz="1200" i="1" dirty="0">
                <a:solidFill>
                  <a:schemeClr val="tx1"/>
                </a:solidFill>
              </a:rPr>
              <a:t> for VIP </a:t>
            </a:r>
            <a:r>
              <a:rPr lang="en-GB" sz="1200" i="1" dirty="0" err="1">
                <a:solidFill>
                  <a:schemeClr val="tx1"/>
                </a:solidFill>
              </a:rPr>
              <a:t>justeres</a:t>
            </a:r>
            <a:r>
              <a:rPr lang="en-GB" sz="1200" i="1" dirty="0">
                <a:solidFill>
                  <a:schemeClr val="tx1"/>
                </a:solidFill>
              </a:rPr>
              <a:t> </a:t>
            </a:r>
            <a:r>
              <a:rPr lang="en-GB" sz="1200" i="1" dirty="0" err="1">
                <a:solidFill>
                  <a:schemeClr val="tx1"/>
                </a:solidFill>
              </a:rPr>
              <a:t>til</a:t>
            </a:r>
            <a:r>
              <a:rPr lang="en-GB" sz="1200" i="1" dirty="0">
                <a:solidFill>
                  <a:schemeClr val="tx1"/>
                </a:solidFill>
              </a:rPr>
              <a:t> 500 SEK/NOK</a:t>
            </a:r>
            <a:endParaRPr lang="en-GB" sz="1200" i="1" dirty="0">
              <a:solidFill>
                <a:schemeClr val="tx1"/>
              </a:solidFill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28034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_Oriflame">
  <a:themeElements>
    <a:clrScheme name="Custom 2">
      <a:dk1>
        <a:srgbClr val="646569"/>
      </a:dk1>
      <a:lt1>
        <a:srgbClr val="FFFFFF"/>
      </a:lt1>
      <a:dk2>
        <a:srgbClr val="B2AFEF"/>
      </a:dk2>
      <a:lt2>
        <a:srgbClr val="CF578A"/>
      </a:lt2>
      <a:accent1>
        <a:srgbClr val="E0D2E7"/>
      </a:accent1>
      <a:accent2>
        <a:srgbClr val="FF8071"/>
      </a:accent2>
      <a:accent3>
        <a:srgbClr val="F3CFB3"/>
      </a:accent3>
      <a:accent4>
        <a:srgbClr val="685BC7"/>
      </a:accent4>
      <a:accent5>
        <a:srgbClr val="FFFFFF"/>
      </a:accent5>
      <a:accent6>
        <a:srgbClr val="FFFFFF"/>
      </a:accent6>
      <a:hlink>
        <a:srgbClr val="646569"/>
      </a:hlink>
      <a:folHlink>
        <a:srgbClr val="646569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2327EDB9-3125-1E4E-9332-B3A895AABAC2}" vid="{0F1FED1A-46EA-8241-8B1D-575BC8D99A9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5</TotalTime>
  <Words>366</Words>
  <Application>Microsoft Office PowerPoint</Application>
  <PresentationFormat>Bredbild</PresentationFormat>
  <Paragraphs>40</Paragraphs>
  <Slides>5</Slides>
  <Notes>1</Notes>
  <HiddenSlides>0</HiddenSlides>
  <MMClips>0</MMClips>
  <ScaleCrop>false</ScaleCrop>
  <HeadingPairs>
    <vt:vector size="8" baseType="variant">
      <vt:variant>
        <vt:lpstr>Använt teckensnitt</vt:lpstr>
      </vt:variant>
      <vt:variant>
        <vt:i4>2</vt:i4>
      </vt:variant>
      <vt:variant>
        <vt:lpstr>Tema</vt:lpstr>
      </vt:variant>
      <vt:variant>
        <vt:i4>1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5</vt:i4>
      </vt:variant>
    </vt:vector>
  </HeadingPairs>
  <TitlesOfParts>
    <vt:vector size="9" baseType="lpstr">
      <vt:lpstr>Arial</vt:lpstr>
      <vt:lpstr>Calibri</vt:lpstr>
      <vt:lpstr>5_Oriflame</vt:lpstr>
      <vt:lpstr>think-cell Slide</vt:lpstr>
      <vt:lpstr>FAST START PROGRAM</vt:lpstr>
      <vt:lpstr>SUPER FAST  START PROGRAM</vt:lpstr>
      <vt:lpstr>IGÅR</vt:lpstr>
      <vt:lpstr>Fra P3 ´23</vt:lpstr>
      <vt:lpstr>Som ny Brand Partner kan du tjene opptil 1500 kr ekstra i løpet av dine første 90 dager* med Oriflame!  Steg 1 – åpne din egen nettbutikk, en Personal Beauty Store (PBS). Det går raskt og er superenkelt.  Steg 2 – anbefal dine favorittprodukter, og del lenken til din PBS med så mange som mulig.  Steg 3 – ønsk dine første VIP-kunder velkommen og hjelp minst tre av dem til å legge inn en ordre på 500 kr eller mer i løpet av dine fire første hele perioder (90 dager*).  Steg 4 – få 500 k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AST START PROGRAM</dc:title>
  <dc:creator>Siewertz, Sofia</dc:creator>
  <cp:lastModifiedBy>Nielsen, Asne</cp:lastModifiedBy>
  <cp:revision>1</cp:revision>
  <dcterms:created xsi:type="dcterms:W3CDTF">2023-01-25T09:09:41Z</dcterms:created>
  <dcterms:modified xsi:type="dcterms:W3CDTF">2023-02-01T09:20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b029aa55-c717-49c7-96ad-42e953bc7712_Enabled">
    <vt:lpwstr>true</vt:lpwstr>
  </property>
  <property fmtid="{D5CDD505-2E9C-101B-9397-08002B2CF9AE}" pid="3" name="MSIP_Label_b029aa55-c717-49c7-96ad-42e953bc7712_SetDate">
    <vt:lpwstr>2023-01-25T09:09:41Z</vt:lpwstr>
  </property>
  <property fmtid="{D5CDD505-2E9C-101B-9397-08002B2CF9AE}" pid="4" name="MSIP_Label_b029aa55-c717-49c7-96ad-42e953bc7712_Method">
    <vt:lpwstr>Standard</vt:lpwstr>
  </property>
  <property fmtid="{D5CDD505-2E9C-101B-9397-08002B2CF9AE}" pid="5" name="MSIP_Label_b029aa55-c717-49c7-96ad-42e953bc7712_Name">
    <vt:lpwstr>b029aa55-c717-49c7-96ad-42e953bc7712</vt:lpwstr>
  </property>
  <property fmtid="{D5CDD505-2E9C-101B-9397-08002B2CF9AE}" pid="6" name="MSIP_Label_b029aa55-c717-49c7-96ad-42e953bc7712_SiteId">
    <vt:lpwstr>e46bc88e-1a4b-44ff-a158-1b9f7eb4561e</vt:lpwstr>
  </property>
  <property fmtid="{D5CDD505-2E9C-101B-9397-08002B2CF9AE}" pid="7" name="MSIP_Label_b029aa55-c717-49c7-96ad-42e953bc7712_ActionId">
    <vt:lpwstr>357a400a-78ce-4ab5-a4c1-233d1b3aa4bc</vt:lpwstr>
  </property>
  <property fmtid="{D5CDD505-2E9C-101B-9397-08002B2CF9AE}" pid="8" name="MSIP_Label_b029aa55-c717-49c7-96ad-42e953bc7712_ContentBits">
    <vt:lpwstr>0</vt:lpwstr>
  </property>
</Properties>
</file>